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5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6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7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8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9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2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13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14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19.xml" ContentType="application/vnd.openxmlformats-officedocument.presentationml.notesSlid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21.xml" ContentType="application/vnd.openxmlformats-officedocument.presentationml.notesSl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0"/>
  </p:notesMasterIdLst>
  <p:sldIdLst>
    <p:sldId id="1188" r:id="rId2"/>
    <p:sldId id="1179" r:id="rId3"/>
    <p:sldId id="1243" r:id="rId4"/>
    <p:sldId id="1224" r:id="rId5"/>
    <p:sldId id="1181" r:id="rId6"/>
    <p:sldId id="1192" r:id="rId7"/>
    <p:sldId id="1209" r:id="rId8"/>
    <p:sldId id="1180" r:id="rId9"/>
    <p:sldId id="1231" r:id="rId10"/>
    <p:sldId id="1235" r:id="rId11"/>
    <p:sldId id="1236" r:id="rId12"/>
    <p:sldId id="1238" r:id="rId13"/>
    <p:sldId id="1239" r:id="rId14"/>
    <p:sldId id="1240" r:id="rId15"/>
    <p:sldId id="1241" r:id="rId16"/>
    <p:sldId id="1242" r:id="rId17"/>
    <p:sldId id="1184" r:id="rId18"/>
    <p:sldId id="1207" r:id="rId19"/>
    <p:sldId id="1208" r:id="rId20"/>
    <p:sldId id="1193" r:id="rId21"/>
    <p:sldId id="1201" r:id="rId22"/>
    <p:sldId id="1185" r:id="rId23"/>
    <p:sldId id="1253" r:id="rId24"/>
    <p:sldId id="1254" r:id="rId25"/>
    <p:sldId id="1257" r:id="rId26"/>
    <p:sldId id="1255" r:id="rId27"/>
    <p:sldId id="1258" r:id="rId28"/>
    <p:sldId id="1256" r:id="rId29"/>
  </p:sldIdLst>
  <p:sldSz cx="12192000" cy="6858000"/>
  <p:notesSz cx="6858000" cy="9144000"/>
  <p:custDataLst>
    <p:tags r:id="rId31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3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ájek Ondřej RNDr. Ph.D." initials="MORP" lastIdx="1" clrIdx="0">
    <p:extLst>
      <p:ext uri="{19B8F6BF-5375-455C-9EA6-DF929625EA0E}">
        <p15:presenceInfo xmlns:p15="http://schemas.microsoft.com/office/powerpoint/2012/main" userId="S::majeko@mzcr.cz::9d61c4b0-e3bf-4878-8005-e21f10a403b2" providerId="AD"/>
      </p:ext>
    </p:extLst>
  </p:cmAuthor>
  <p:cmAuthor id="2" name="Kouřil Jan Mgr." initials="KJM" lastIdx="1" clrIdx="1">
    <p:extLst>
      <p:ext uri="{19B8F6BF-5375-455C-9EA6-DF929625EA0E}">
        <p15:presenceInfo xmlns:p15="http://schemas.microsoft.com/office/powerpoint/2012/main" userId="S::kourilj@mzcr.cz::dbc45f57-da0e-49ed-8558-d54a6c5b7b8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DD1D9"/>
    <a:srgbClr val="F797B0"/>
    <a:srgbClr val="E8EAED"/>
    <a:srgbClr val="FF7C80"/>
    <a:srgbClr val="00CD61"/>
    <a:srgbClr val="00FF00"/>
    <a:srgbClr val="D31145"/>
    <a:srgbClr val="996633"/>
    <a:srgbClr val="F75A1C"/>
    <a:srgbClr val="9E0D3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27102A9-8310-4765-A935-A1911B00CA55}" styleName="Světlý styl 1 – zvýraznění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3B4B98B0-60AC-42C2-AFA5-B58CD77FA1E5}" styleName="Světlý styl 1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Světlý styl 1 – zvýraznění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1E4AEA4-8DFA-4A89-87EB-49C32662AFE0}" styleName="Střední styl 2 – zvýraznění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167" autoAdjust="0"/>
    <p:restoredTop sz="96327" autoAdjust="0"/>
  </p:normalViewPr>
  <p:slideViewPr>
    <p:cSldViewPr snapToGrid="0">
      <p:cViewPr varScale="1">
        <p:scale>
          <a:sx n="104" d="100"/>
          <a:sy n="104" d="100"/>
        </p:scale>
        <p:origin x="120" y="114"/>
      </p:cViewPr>
      <p:guideLst>
        <p:guide orient="horz" pos="123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1640230244309003E-2"/>
          <c:y val="8.1965526849870296E-2"/>
          <c:w val="0.91393290618325784"/>
          <c:h val="0.7099504177402983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31.10.2021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8ED-4368-B9BE-D456B2020E7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8ED-4368-B9BE-D456B2020E76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8D9-4FAE-ACD8-8FC9D76B16F6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561-42EC-8144-BD0DFC6360C1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561-42EC-8144-BD0DFC6360C1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154-4F68-8DDF-88A5914185CF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561-42EC-8144-BD0DFC6360C1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A154-4F68-8DDF-88A5914185CF}"/>
              </c:ext>
            </c:extLst>
          </c:dPt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7561-42EC-8144-BD0DFC6360C1}"/>
              </c:ext>
            </c:extLst>
          </c:dPt>
          <c:dPt>
            <c:idx val="2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A154-4F68-8DDF-88A5914185CF}"/>
              </c:ext>
            </c:extLst>
          </c:dPt>
          <c:dPt>
            <c:idx val="2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A154-4F68-8DDF-88A5914185CF}"/>
              </c:ext>
            </c:extLst>
          </c:dPt>
          <c:cat>
            <c:strRef>
              <c:f>List1!$A$2:$A$32</c:f>
              <c:strCache>
                <c:ptCount val="31"/>
                <c:pt idx="0">
                  <c:v>Slovinsko</c:v>
                </c:pt>
                <c:pt idx="1">
                  <c:v>Slovensko</c:v>
                </c:pt>
                <c:pt idx="2">
                  <c:v>Chorvatsko</c:v>
                </c:pt>
                <c:pt idx="3">
                  <c:v>Rakousko</c:v>
                </c:pt>
                <c:pt idx="4">
                  <c:v>Estonsko</c:v>
                </c:pt>
                <c:pt idx="5">
                  <c:v>Česká republika</c:v>
                </c:pt>
                <c:pt idx="6">
                  <c:v>Litva</c:v>
                </c:pt>
                <c:pt idx="7">
                  <c:v>Lotyšsko</c:v>
                </c:pt>
                <c:pt idx="8">
                  <c:v>Irsko</c:v>
                </c:pt>
                <c:pt idx="9">
                  <c:v>Belgie</c:v>
                </c:pt>
                <c:pt idx="10">
                  <c:v>Nizozemsko</c:v>
                </c:pt>
                <c:pt idx="11">
                  <c:v>Maďarsko</c:v>
                </c:pt>
                <c:pt idx="12">
                  <c:v>Řecko</c:v>
                </c:pt>
                <c:pt idx="13">
                  <c:v>Bulharsko</c:v>
                </c:pt>
                <c:pt idx="14">
                  <c:v>Velká Británie</c:v>
                </c:pt>
                <c:pt idx="15">
                  <c:v>Dánsko</c:v>
                </c:pt>
                <c:pt idx="16">
                  <c:v>Lichtenštejnsko</c:v>
                </c:pt>
                <c:pt idx="17">
                  <c:v>Island</c:v>
                </c:pt>
                <c:pt idx="18">
                  <c:v>Německo</c:v>
                </c:pt>
                <c:pt idx="19">
                  <c:v>Polsko</c:v>
                </c:pt>
                <c:pt idx="20">
                  <c:v>Lucembursko</c:v>
                </c:pt>
                <c:pt idx="21">
                  <c:v>Rumunsko</c:v>
                </c:pt>
                <c:pt idx="22">
                  <c:v>Norsko</c:v>
                </c:pt>
                <c:pt idx="23">
                  <c:v>Kypr</c:v>
                </c:pt>
                <c:pt idx="24">
                  <c:v>Finsko</c:v>
                </c:pt>
                <c:pt idx="25">
                  <c:v>Francie</c:v>
                </c:pt>
                <c:pt idx="26">
                  <c:v>Portugalsko</c:v>
                </c:pt>
                <c:pt idx="27">
                  <c:v>Malta</c:v>
                </c:pt>
                <c:pt idx="28">
                  <c:v>Švédsko</c:v>
                </c:pt>
                <c:pt idx="29">
                  <c:v>Itálie</c:v>
                </c:pt>
                <c:pt idx="30">
                  <c:v>Španělsko</c:v>
                </c:pt>
              </c:strCache>
            </c:strRef>
          </c:cat>
          <c:val>
            <c:numRef>
              <c:f>List1!$B$2:$B$32</c:f>
              <c:numCache>
                <c:formatCode>General</c:formatCode>
                <c:ptCount val="31"/>
                <c:pt idx="0">
                  <c:v>1365.2622955434545</c:v>
                </c:pt>
                <c:pt idx="1">
                  <c:v>1013.5816645055683</c:v>
                </c:pt>
                <c:pt idx="2">
                  <c:v>1065.5308495342106</c:v>
                </c:pt>
                <c:pt idx="3">
                  <c:v>657.4045529837781</c:v>
                </c:pt>
                <c:pt idx="4">
                  <c:v>1658.9464369559721</c:v>
                </c:pt>
                <c:pt idx="5">
                  <c:v>522.29585375416866</c:v>
                </c:pt>
                <c:pt idx="6">
                  <c:v>1493.3305655866491</c:v>
                </c:pt>
                <c:pt idx="7">
                  <c:v>1757.26997523163</c:v>
                </c:pt>
                <c:pt idx="8">
                  <c:v>639.77004455688859</c:v>
                </c:pt>
                <c:pt idx="9">
                  <c:v>818.38568914223026</c:v>
                </c:pt>
                <c:pt idx="10">
                  <c:v>484.42101532176918</c:v>
                </c:pt>
                <c:pt idx="11">
                  <c:v>391.42124193128711</c:v>
                </c:pt>
                <c:pt idx="12">
                  <c:v>458.12102646203107</c:v>
                </c:pt>
                <c:pt idx="13">
                  <c:v>883.4950590392092</c:v>
                </c:pt>
                <c:pt idx="14">
                  <c:v>936.13764694178133</c:v>
                </c:pt>
                <c:pt idx="15">
                  <c:v>352.80501713705331</c:v>
                </c:pt>
                <c:pt idx="16">
                  <c:v>242.59942705241698</c:v>
                </c:pt>
                <c:pt idx="17">
                  <c:v>309.22682309259778</c:v>
                </c:pt>
                <c:pt idx="18">
                  <c:v>281.26638313254927</c:v>
                </c:pt>
                <c:pt idx="19">
                  <c:v>234.55049349364819</c:v>
                </c:pt>
                <c:pt idx="20">
                  <c:v>389.5494068116044</c:v>
                </c:pt>
                <c:pt idx="21">
                  <c:v>970.68949514709584</c:v>
                </c:pt>
                <c:pt idx="22">
                  <c:v>212.18128094970174</c:v>
                </c:pt>
                <c:pt idx="23">
                  <c:v>221.28253782354827</c:v>
                </c:pt>
                <c:pt idx="24">
                  <c:v>140.42696747972775</c:v>
                </c:pt>
                <c:pt idx="25">
                  <c:v>112.2307747794511</c:v>
                </c:pt>
                <c:pt idx="26">
                  <c:v>106.04211828212546</c:v>
                </c:pt>
                <c:pt idx="27">
                  <c:v>40.228232056653788</c:v>
                </c:pt>
                <c:pt idx="28">
                  <c:v>107.60497924539793</c:v>
                </c:pt>
                <c:pt idx="29">
                  <c:v>95.403387655250995</c:v>
                </c:pt>
                <c:pt idx="30">
                  <c:v>53.2360203051536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14.11.2021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  <a:effectLst/>
          </c:spPr>
          <c:invertIfNegative val="0"/>
          <c:cat>
            <c:strRef>
              <c:f>List1!$A$2:$A$32</c:f>
              <c:strCache>
                <c:ptCount val="31"/>
                <c:pt idx="0">
                  <c:v>Slovinsko</c:v>
                </c:pt>
                <c:pt idx="1">
                  <c:v>Slovensko</c:v>
                </c:pt>
                <c:pt idx="2">
                  <c:v>Chorvatsko</c:v>
                </c:pt>
                <c:pt idx="3">
                  <c:v>Rakousko</c:v>
                </c:pt>
                <c:pt idx="4">
                  <c:v>Estonsko</c:v>
                </c:pt>
                <c:pt idx="5">
                  <c:v>Česká republika</c:v>
                </c:pt>
                <c:pt idx="6">
                  <c:v>Litva</c:v>
                </c:pt>
                <c:pt idx="7">
                  <c:v>Lotyšsko</c:v>
                </c:pt>
                <c:pt idx="8">
                  <c:v>Irsko</c:v>
                </c:pt>
                <c:pt idx="9">
                  <c:v>Belgie</c:v>
                </c:pt>
                <c:pt idx="10">
                  <c:v>Nizozemsko</c:v>
                </c:pt>
                <c:pt idx="11">
                  <c:v>Maďarsko</c:v>
                </c:pt>
                <c:pt idx="12">
                  <c:v>Řecko</c:v>
                </c:pt>
                <c:pt idx="13">
                  <c:v>Bulharsko</c:v>
                </c:pt>
                <c:pt idx="14">
                  <c:v>Velká Británie</c:v>
                </c:pt>
                <c:pt idx="15">
                  <c:v>Dánsko</c:v>
                </c:pt>
                <c:pt idx="16">
                  <c:v>Lichtenštejnsko</c:v>
                </c:pt>
                <c:pt idx="17">
                  <c:v>Island</c:v>
                </c:pt>
                <c:pt idx="18">
                  <c:v>Německo</c:v>
                </c:pt>
                <c:pt idx="19">
                  <c:v>Polsko</c:v>
                </c:pt>
                <c:pt idx="20">
                  <c:v>Lucembursko</c:v>
                </c:pt>
                <c:pt idx="21">
                  <c:v>Rumunsko</c:v>
                </c:pt>
                <c:pt idx="22">
                  <c:v>Norsko</c:v>
                </c:pt>
                <c:pt idx="23">
                  <c:v>Kypr</c:v>
                </c:pt>
                <c:pt idx="24">
                  <c:v>Finsko</c:v>
                </c:pt>
                <c:pt idx="25">
                  <c:v>Francie</c:v>
                </c:pt>
                <c:pt idx="26">
                  <c:v>Portugalsko</c:v>
                </c:pt>
                <c:pt idx="27">
                  <c:v>Malta</c:v>
                </c:pt>
                <c:pt idx="28">
                  <c:v>Švédsko</c:v>
                </c:pt>
                <c:pt idx="29">
                  <c:v>Itálie</c:v>
                </c:pt>
                <c:pt idx="30">
                  <c:v>Španělsko</c:v>
                </c:pt>
              </c:strCache>
            </c:strRef>
          </c:cat>
          <c:val>
            <c:numRef>
              <c:f>List1!$C$2:$C$32</c:f>
              <c:numCache>
                <c:formatCode>General</c:formatCode>
                <c:ptCount val="31"/>
                <c:pt idx="0">
                  <c:v>2043.0267083551821</c:v>
                </c:pt>
                <c:pt idx="1">
                  <c:v>1704.3269420156898</c:v>
                </c:pt>
                <c:pt idx="2">
                  <c:v>1529.3118934296658</c:v>
                </c:pt>
                <c:pt idx="3">
                  <c:v>1528.6374752501499</c:v>
                </c:pt>
                <c:pt idx="4">
                  <c:v>1296.261181541277</c:v>
                </c:pt>
                <c:pt idx="5">
                  <c:v>1217.4185770089018</c:v>
                </c:pt>
                <c:pt idx="6">
                  <c:v>1213.7404306947878</c:v>
                </c:pt>
                <c:pt idx="7">
                  <c:v>1111.3528247736119</c:v>
                </c:pt>
                <c:pt idx="8">
                  <c:v>1099.6809307797052</c:v>
                </c:pt>
                <c:pt idx="9">
                  <c:v>1077.1069322122744</c:v>
                </c:pt>
                <c:pt idx="10">
                  <c:v>937.22937443648846</c:v>
                </c:pt>
                <c:pt idx="11">
                  <c:v>882.48907879461092</c:v>
                </c:pt>
                <c:pt idx="12">
                  <c:v>832.19162266590718</c:v>
                </c:pt>
                <c:pt idx="13">
                  <c:v>773.7055206357436</c:v>
                </c:pt>
                <c:pt idx="14">
                  <c:v>697.6211515441928</c:v>
                </c:pt>
                <c:pt idx="15">
                  <c:v>663.63683357883531</c:v>
                </c:pt>
                <c:pt idx="16">
                  <c:v>663.27715694118262</c:v>
                </c:pt>
                <c:pt idx="17">
                  <c:v>549.7976019816881</c:v>
                </c:pt>
                <c:pt idx="18">
                  <c:v>525.19210480741515</c:v>
                </c:pt>
                <c:pt idx="19">
                  <c:v>484.39678468949137</c:v>
                </c:pt>
                <c:pt idx="20">
                  <c:v>483.94206750273116</c:v>
                </c:pt>
                <c:pt idx="21">
                  <c:v>448.26284953084092</c:v>
                </c:pt>
                <c:pt idx="22">
                  <c:v>395.96987841820709</c:v>
                </c:pt>
                <c:pt idx="23">
                  <c:v>321.0567508065833</c:v>
                </c:pt>
                <c:pt idx="24">
                  <c:v>188.31583923528385</c:v>
                </c:pt>
                <c:pt idx="25">
                  <c:v>172.43408725842471</c:v>
                </c:pt>
                <c:pt idx="26">
                  <c:v>167.44514738815192</c:v>
                </c:pt>
                <c:pt idx="27">
                  <c:v>113.49414261394112</c:v>
                </c:pt>
                <c:pt idx="28">
                  <c:v>105.57159081369331</c:v>
                </c:pt>
                <c:pt idx="29">
                  <c:v>104.42563069519662</c:v>
                </c:pt>
                <c:pt idx="30">
                  <c:v>56.4705765035499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C138-4612-AF06-5399DE4C08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4362064"/>
        <c:axId val="354362456"/>
      </c:barChart>
      <c:catAx>
        <c:axId val="3543620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2456"/>
        <c:crosses val="autoZero"/>
        <c:auto val="1"/>
        <c:lblAlgn val="ctr"/>
        <c:lblOffset val="100"/>
        <c:noMultiLvlLbl val="0"/>
      </c:catAx>
      <c:valAx>
        <c:axId val="354362456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20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7881422312393831"/>
          <c:h val="0.6760638962375074"/>
        </c:manualLayout>
      </c:layout>
      <c:lineChart>
        <c:grouping val="standard"/>
        <c:varyColors val="0"/>
        <c:ser>
          <c:idx val="9"/>
          <c:order val="0"/>
          <c:tx>
            <c:strRef>
              <c:f>List1!$I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46</c:f>
              <c:strCache>
                <c:ptCount val="45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</c:strCache>
            </c:strRef>
          </c:cat>
          <c:val>
            <c:numRef>
              <c:f>List1!$I$2:$I$46</c:f>
              <c:numCache>
                <c:formatCode>General</c:formatCode>
                <c:ptCount val="45"/>
                <c:pt idx="0">
                  <c:v>3.349984899031802</c:v>
                </c:pt>
                <c:pt idx="1">
                  <c:v>2.9681213354115967</c:v>
                </c:pt>
                <c:pt idx="2">
                  <c:v>3.2371615734167416</c:v>
                </c:pt>
                <c:pt idx="3">
                  <c:v>2.5428641850163682</c:v>
                </c:pt>
                <c:pt idx="4">
                  <c:v>2.5515429023713727</c:v>
                </c:pt>
                <c:pt idx="5">
                  <c:v>2.4213621420463025</c:v>
                </c:pt>
                <c:pt idx="6">
                  <c:v>1.8225306445509806</c:v>
                </c:pt>
                <c:pt idx="7">
                  <c:v>1.4753819503507937</c:v>
                </c:pt>
                <c:pt idx="8">
                  <c:v>1.4840606677057984</c:v>
                </c:pt>
                <c:pt idx="9">
                  <c:v>1.4840606677057984</c:v>
                </c:pt>
                <c:pt idx="10">
                  <c:v>1.5448116891908312</c:v>
                </c:pt>
                <c:pt idx="11">
                  <c:v>1.6315988627408777</c:v>
                </c:pt>
                <c:pt idx="12">
                  <c:v>2.2217516428811952</c:v>
                </c:pt>
                <c:pt idx="13">
                  <c:v>2.4821131635313352</c:v>
                </c:pt>
                <c:pt idx="14">
                  <c:v>2.2738239470112234</c:v>
                </c:pt>
                <c:pt idx="15">
                  <c:v>2.3692898379162748</c:v>
                </c:pt>
                <c:pt idx="16">
                  <c:v>2.2043942081711858</c:v>
                </c:pt>
                <c:pt idx="17">
                  <c:v>2.2130729255261907</c:v>
                </c:pt>
                <c:pt idx="18">
                  <c:v>1.2150204297006537</c:v>
                </c:pt>
                <c:pt idx="19">
                  <c:v>1.1195545387956023</c:v>
                </c:pt>
                <c:pt idx="20">
                  <c:v>0.85051430079045764</c:v>
                </c:pt>
                <c:pt idx="21">
                  <c:v>0.72901225782039214</c:v>
                </c:pt>
                <c:pt idx="22">
                  <c:v>0.43393586775023346</c:v>
                </c:pt>
                <c:pt idx="23">
                  <c:v>0.35582741155519143</c:v>
                </c:pt>
                <c:pt idx="24">
                  <c:v>0.19961049916510737</c:v>
                </c:pt>
                <c:pt idx="25">
                  <c:v>0.1735743471000934</c:v>
                </c:pt>
                <c:pt idx="26">
                  <c:v>8.6787173550046698E-2</c:v>
                </c:pt>
                <c:pt idx="27">
                  <c:v>6.0751021485032683E-2</c:v>
                </c:pt>
                <c:pt idx="28">
                  <c:v>9.5465890905051351E-2</c:v>
                </c:pt>
                <c:pt idx="29">
                  <c:v>0.18225306445509803</c:v>
                </c:pt>
                <c:pt idx="30">
                  <c:v>0.19961049916510737</c:v>
                </c:pt>
                <c:pt idx="31">
                  <c:v>0.1909317818101027</c:v>
                </c:pt>
                <c:pt idx="32">
                  <c:v>0.35582741155519143</c:v>
                </c:pt>
                <c:pt idx="33">
                  <c:v>0.2777189553601494</c:v>
                </c:pt>
                <c:pt idx="34">
                  <c:v>0.34714869420018679</c:v>
                </c:pt>
                <c:pt idx="35">
                  <c:v>0.41657843304022413</c:v>
                </c:pt>
                <c:pt idx="36">
                  <c:v>0.3384699768451821</c:v>
                </c:pt>
                <c:pt idx="37">
                  <c:v>0.46865073717025213</c:v>
                </c:pt>
                <c:pt idx="38">
                  <c:v>0.48600817188026146</c:v>
                </c:pt>
                <c:pt idx="39">
                  <c:v>0.53808047601028952</c:v>
                </c:pt>
                <c:pt idx="40">
                  <c:v>0.78976327930542489</c:v>
                </c:pt>
                <c:pt idx="41">
                  <c:v>0.93730147434050426</c:v>
                </c:pt>
                <c:pt idx="42">
                  <c:v>1.3018076032507004</c:v>
                </c:pt>
                <c:pt idx="43">
                  <c:v>1.336522472670719</c:v>
                </c:pt>
                <c:pt idx="44">
                  <c:v>1.56216912390084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46</c:f>
              <c:strCache>
                <c:ptCount val="45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</c:strCache>
            </c:strRef>
          </c:cat>
          <c:val>
            <c:numRef>
              <c:f>List1!$C$2:$C$46</c:f>
              <c:numCache>
                <c:formatCode>General</c:formatCode>
                <c:ptCount val="45"/>
                <c:pt idx="0">
                  <c:v>11.483140122643302</c:v>
                </c:pt>
                <c:pt idx="1">
                  <c:v>10.88467027911792</c:v>
                </c:pt>
                <c:pt idx="2">
                  <c:v>9.7344860485925722</c:v>
                </c:pt>
                <c:pt idx="3">
                  <c:v>9.1266651137621047</c:v>
                </c:pt>
                <c:pt idx="4">
                  <c:v>8.6030040006773945</c:v>
                </c:pt>
                <c:pt idx="5">
                  <c:v>8.8461323746095797</c:v>
                </c:pt>
                <c:pt idx="6">
                  <c:v>10.202040613846778</c:v>
                </c:pt>
                <c:pt idx="7">
                  <c:v>11.277416113931453</c:v>
                </c:pt>
                <c:pt idx="8">
                  <c:v>13.231794196694034</c:v>
                </c:pt>
                <c:pt idx="9">
                  <c:v>14.447436066354971</c:v>
                </c:pt>
                <c:pt idx="10">
                  <c:v>13.287900744524537</c:v>
                </c:pt>
                <c:pt idx="11">
                  <c:v>11.240011748711115</c:v>
                </c:pt>
                <c:pt idx="12">
                  <c:v>9.6596773181518998</c:v>
                </c:pt>
                <c:pt idx="13">
                  <c:v>7.3967132223215417</c:v>
                </c:pt>
                <c:pt idx="14">
                  <c:v>5.3207709525928655</c:v>
                </c:pt>
                <c:pt idx="15">
                  <c:v>3.9274583481353318</c:v>
                </c:pt>
                <c:pt idx="16">
                  <c:v>3.1232644958980971</c:v>
                </c:pt>
                <c:pt idx="17">
                  <c:v>2.3938793741015356</c:v>
                </c:pt>
                <c:pt idx="18">
                  <c:v>1.5616322479490485</c:v>
                </c:pt>
                <c:pt idx="19">
                  <c:v>0.99121567833891699</c:v>
                </c:pt>
                <c:pt idx="20">
                  <c:v>0.53301220438979502</c:v>
                </c:pt>
                <c:pt idx="21">
                  <c:v>0.34599037828811258</c:v>
                </c:pt>
                <c:pt idx="22">
                  <c:v>0.25247946523727133</c:v>
                </c:pt>
                <c:pt idx="23">
                  <c:v>0.1215641869660936</c:v>
                </c:pt>
                <c:pt idx="24">
                  <c:v>0.10286200435592535</c:v>
                </c:pt>
                <c:pt idx="25">
                  <c:v>6.5457639135588858E-2</c:v>
                </c:pt>
                <c:pt idx="26">
                  <c:v>2.8053273915252371E-2</c:v>
                </c:pt>
                <c:pt idx="27">
                  <c:v>2.8053273915252371E-2</c:v>
                </c:pt>
                <c:pt idx="28">
                  <c:v>2.8053273915252371E-2</c:v>
                </c:pt>
                <c:pt idx="29">
                  <c:v>3.7404365220336494E-2</c:v>
                </c:pt>
                <c:pt idx="30">
                  <c:v>3.7404365220336494E-2</c:v>
                </c:pt>
                <c:pt idx="31">
                  <c:v>4.6755456525420618E-2</c:v>
                </c:pt>
                <c:pt idx="32">
                  <c:v>8.4159821745757105E-2</c:v>
                </c:pt>
                <c:pt idx="33">
                  <c:v>7.4808730440672988E-2</c:v>
                </c:pt>
                <c:pt idx="34">
                  <c:v>1.8702182610168247E-2</c:v>
                </c:pt>
                <c:pt idx="35">
                  <c:v>5.6106547830504741E-2</c:v>
                </c:pt>
                <c:pt idx="36">
                  <c:v>0.14026636957626185</c:v>
                </c:pt>
                <c:pt idx="37">
                  <c:v>0.1215641869660936</c:v>
                </c:pt>
                <c:pt idx="38">
                  <c:v>0.14026636957626185</c:v>
                </c:pt>
                <c:pt idx="39">
                  <c:v>0.2431283739321872</c:v>
                </c:pt>
                <c:pt idx="40">
                  <c:v>0.4956078391694585</c:v>
                </c:pt>
                <c:pt idx="41">
                  <c:v>0.80419385223723461</c:v>
                </c:pt>
                <c:pt idx="42">
                  <c:v>1.5148767914236281</c:v>
                </c:pt>
                <c:pt idx="43">
                  <c:v>2.8053273915252368</c:v>
                </c:pt>
                <c:pt idx="44">
                  <c:v>4.02096926118617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46</c:f>
              <c:strCache>
                <c:ptCount val="45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</c:strCache>
            </c:strRef>
          </c:cat>
          <c:val>
            <c:numRef>
              <c:f>List1!$D$2:$D$46</c:f>
              <c:numCache>
                <c:formatCode>General</c:formatCode>
                <c:ptCount val="45"/>
                <c:pt idx="0">
                  <c:v>5.1173335510391116</c:v>
                </c:pt>
                <c:pt idx="1">
                  <c:v>5.1292170542055304</c:v>
                </c:pt>
                <c:pt idx="2">
                  <c:v>5.08465391733146</c:v>
                </c:pt>
                <c:pt idx="3">
                  <c:v>4.6984400644228472</c:v>
                </c:pt>
                <c:pt idx="4">
                  <c:v>4.5721778432796469</c:v>
                </c:pt>
                <c:pt idx="5">
                  <c:v>4.3285660283680611</c:v>
                </c:pt>
                <c:pt idx="6">
                  <c:v>3.7655850658589687</c:v>
                </c:pt>
                <c:pt idx="7">
                  <c:v>3.2352837370575283</c:v>
                </c:pt>
                <c:pt idx="8">
                  <c:v>3.0807981958940833</c:v>
                </c:pt>
                <c:pt idx="9">
                  <c:v>2.805992185170648</c:v>
                </c:pt>
                <c:pt idx="10">
                  <c:v>2.7213222251099136</c:v>
                </c:pt>
                <c:pt idx="11">
                  <c:v>2.7777688651504029</c:v>
                </c:pt>
                <c:pt idx="12">
                  <c:v>2.9619631642298949</c:v>
                </c:pt>
                <c:pt idx="13">
                  <c:v>3.1877497243918524</c:v>
                </c:pt>
                <c:pt idx="14">
                  <c:v>2.9530505368550806</c:v>
                </c:pt>
                <c:pt idx="15">
                  <c:v>3.1119923917059324</c:v>
                </c:pt>
                <c:pt idx="16">
                  <c:v>2.95899228843829</c:v>
                </c:pt>
                <c:pt idx="17">
                  <c:v>2.3068850521810567</c:v>
                </c:pt>
                <c:pt idx="18">
                  <c:v>1.8166905465662795</c:v>
                </c:pt>
                <c:pt idx="19">
                  <c:v>1.4349330073450746</c:v>
                </c:pt>
                <c:pt idx="20">
                  <c:v>1.1779522513712672</c:v>
                </c:pt>
                <c:pt idx="21">
                  <c:v>0.888291861689808</c:v>
                </c:pt>
                <c:pt idx="22">
                  <c:v>0.56892271409230177</c:v>
                </c:pt>
                <c:pt idx="23">
                  <c:v>0.48722362982317224</c:v>
                </c:pt>
                <c:pt idx="24">
                  <c:v>0.36096140867997217</c:v>
                </c:pt>
                <c:pt idx="25">
                  <c:v>0.30154389284787797</c:v>
                </c:pt>
                <c:pt idx="26">
                  <c:v>0.24212637701578379</c:v>
                </c:pt>
                <c:pt idx="27">
                  <c:v>0.18122342328788726</c:v>
                </c:pt>
                <c:pt idx="28">
                  <c:v>0.21241761909973669</c:v>
                </c:pt>
                <c:pt idx="29">
                  <c:v>0.42929155188688051</c:v>
                </c:pt>
                <c:pt idx="30">
                  <c:v>0.52287413932242877</c:v>
                </c:pt>
                <c:pt idx="31">
                  <c:v>0.69072862154809478</c:v>
                </c:pt>
                <c:pt idx="32">
                  <c:v>1.2091464471831166</c:v>
                </c:pt>
                <c:pt idx="33">
                  <c:v>1.0932822913105329</c:v>
                </c:pt>
                <c:pt idx="34">
                  <c:v>1.0204958344162174</c:v>
                </c:pt>
                <c:pt idx="35">
                  <c:v>0.90611711643943627</c:v>
                </c:pt>
                <c:pt idx="36">
                  <c:v>0.72786456894315377</c:v>
                </c:pt>
                <c:pt idx="37">
                  <c:v>0.6045732235915583</c:v>
                </c:pt>
                <c:pt idx="38">
                  <c:v>0.47831100244835811</c:v>
                </c:pt>
                <c:pt idx="39">
                  <c:v>0.36690316026318159</c:v>
                </c:pt>
                <c:pt idx="40">
                  <c:v>0.30897108232688975</c:v>
                </c:pt>
                <c:pt idx="41">
                  <c:v>0.30005845495207562</c:v>
                </c:pt>
                <c:pt idx="42">
                  <c:v>0.30897108232688975</c:v>
                </c:pt>
                <c:pt idx="43">
                  <c:v>0.34610702972194862</c:v>
                </c:pt>
                <c:pt idx="44">
                  <c:v>0.357990532888367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46</c:f>
              <c:strCache>
                <c:ptCount val="45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</c:strCache>
            </c:strRef>
          </c:cat>
          <c:val>
            <c:numRef>
              <c:f>List1!$F$2:$F$46</c:f>
              <c:numCache>
                <c:formatCode>General</c:formatCode>
                <c:ptCount val="45"/>
                <c:pt idx="0">
                  <c:v>5.5498279989258483</c:v>
                </c:pt>
                <c:pt idx="1">
                  <c:v>5.4794072206917441</c:v>
                </c:pt>
                <c:pt idx="2">
                  <c:v>5.2564080896170795</c:v>
                </c:pt>
                <c:pt idx="3">
                  <c:v>4.7466957900178475</c:v>
                </c:pt>
                <c:pt idx="4">
                  <c:v>4.3057275834566706</c:v>
                </c:pt>
                <c:pt idx="5">
                  <c:v>3.5545726156262227</c:v>
                </c:pt>
                <c:pt idx="6">
                  <c:v>3.484151837392119</c:v>
                </c:pt>
                <c:pt idx="7">
                  <c:v>3.4070243183738138</c:v>
                </c:pt>
                <c:pt idx="8">
                  <c:v>3.7624815799364359</c:v>
                </c:pt>
                <c:pt idx="9">
                  <c:v>4.1347056934595594</c:v>
                </c:pt>
                <c:pt idx="10">
                  <c:v>4.7416657344296977</c:v>
                </c:pt>
                <c:pt idx="11">
                  <c:v>4.9780783470727625</c:v>
                </c:pt>
                <c:pt idx="12">
                  <c:v>5.145746866677773</c:v>
                </c:pt>
                <c:pt idx="13">
                  <c:v>4.9026275132505077</c:v>
                </c:pt>
                <c:pt idx="14">
                  <c:v>4.0827284523820069</c:v>
                </c:pt>
                <c:pt idx="15">
                  <c:v>3.645113616212929</c:v>
                </c:pt>
                <c:pt idx="16">
                  <c:v>2.9610260562244859</c:v>
                </c:pt>
                <c:pt idx="17">
                  <c:v>2.4093966267240012</c:v>
                </c:pt>
                <c:pt idx="18">
                  <c:v>1.8963309567326689</c:v>
                </c:pt>
                <c:pt idx="19">
                  <c:v>1.3547616384084851</c:v>
                </c:pt>
                <c:pt idx="20">
                  <c:v>0.95403387655250993</c:v>
                </c:pt>
                <c:pt idx="21">
                  <c:v>0.68241087479239282</c:v>
                </c:pt>
                <c:pt idx="22">
                  <c:v>0.48120865126638024</c:v>
                </c:pt>
                <c:pt idx="23">
                  <c:v>0.35378057636657223</c:v>
                </c:pt>
                <c:pt idx="24">
                  <c:v>0.23305924225096461</c:v>
                </c:pt>
                <c:pt idx="25">
                  <c:v>0.17772863078131115</c:v>
                </c:pt>
                <c:pt idx="26">
                  <c:v>0.13413481568400842</c:v>
                </c:pt>
                <c:pt idx="27">
                  <c:v>0.10898453774325684</c:v>
                </c:pt>
                <c:pt idx="28">
                  <c:v>0.12072133411560758</c:v>
                </c:pt>
                <c:pt idx="29">
                  <c:v>0.15425503803660967</c:v>
                </c:pt>
                <c:pt idx="30">
                  <c:v>0.24144266823121516</c:v>
                </c:pt>
                <c:pt idx="31">
                  <c:v>0.39234433587572459</c:v>
                </c:pt>
                <c:pt idx="32">
                  <c:v>0.5197724107755326</c:v>
                </c:pt>
                <c:pt idx="33">
                  <c:v>0.61031341136223838</c:v>
                </c:pt>
                <c:pt idx="34">
                  <c:v>0.66732070802794186</c:v>
                </c:pt>
                <c:pt idx="35">
                  <c:v>0.66229065243979157</c:v>
                </c:pt>
                <c:pt idx="36">
                  <c:v>0.61869683734248881</c:v>
                </c:pt>
                <c:pt idx="37">
                  <c:v>0.56839628146098575</c:v>
                </c:pt>
                <c:pt idx="38">
                  <c:v>0.47450191048217982</c:v>
                </c:pt>
                <c:pt idx="39">
                  <c:v>0.38563759509152423</c:v>
                </c:pt>
                <c:pt idx="40">
                  <c:v>0.36048731715077259</c:v>
                </c:pt>
                <c:pt idx="41">
                  <c:v>0.38060753950337389</c:v>
                </c:pt>
                <c:pt idx="42">
                  <c:v>0.42923141018882699</c:v>
                </c:pt>
                <c:pt idx="43">
                  <c:v>0.45438168812957846</c:v>
                </c:pt>
                <c:pt idx="44">
                  <c:v>0.424201354600676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K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6</c:f>
              <c:strCache>
                <c:ptCount val="45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</c:strCache>
            </c:strRef>
          </c:cat>
          <c:val>
            <c:numRef>
              <c:f>List1!$K$2:$K$46</c:f>
              <c:numCache>
                <c:formatCode>General</c:formatCode>
                <c:ptCount val="45"/>
                <c:pt idx="0">
                  <c:v>8.0249543324824568</c:v>
                </c:pt>
                <c:pt idx="1">
                  <c:v>7.1651377968593364</c:v>
                </c:pt>
                <c:pt idx="2">
                  <c:v>6.1313107718839177</c:v>
                </c:pt>
                <c:pt idx="3">
                  <c:v>5.425032903336354</c:v>
                </c:pt>
                <c:pt idx="4">
                  <c:v>5.2100787694305746</c:v>
                </c:pt>
                <c:pt idx="5">
                  <c:v>5.0770119246317575</c:v>
                </c:pt>
                <c:pt idx="6">
                  <c:v>5.5990433926886523</c:v>
                </c:pt>
                <c:pt idx="7">
                  <c:v>7.7997642874383057</c:v>
                </c:pt>
                <c:pt idx="8">
                  <c:v>9.7343514925903261</c:v>
                </c:pt>
                <c:pt idx="9">
                  <c:v>12.764181189547989</c:v>
                </c:pt>
                <c:pt idx="10">
                  <c:v>15.855426353335872</c:v>
                </c:pt>
                <c:pt idx="11">
                  <c:v>19.049030628507463</c:v>
                </c:pt>
                <c:pt idx="12">
                  <c:v>19.223041117859761</c:v>
                </c:pt>
                <c:pt idx="13">
                  <c:v>15.927077731304466</c:v>
                </c:pt>
                <c:pt idx="14">
                  <c:v>12.723237544994507</c:v>
                </c:pt>
                <c:pt idx="15">
                  <c:v>9.550105092099658</c:v>
                </c:pt>
                <c:pt idx="16">
                  <c:v>7.0730145966140023</c:v>
                </c:pt>
                <c:pt idx="17">
                  <c:v>5.2100787694305746</c:v>
                </c:pt>
                <c:pt idx="18">
                  <c:v>3.480209787045963</c:v>
                </c:pt>
                <c:pt idx="19">
                  <c:v>2.2723722727182465</c:v>
                </c:pt>
                <c:pt idx="20">
                  <c:v>1.2283093366044575</c:v>
                </c:pt>
                <c:pt idx="21">
                  <c:v>0.91099609131497261</c:v>
                </c:pt>
                <c:pt idx="22">
                  <c:v>0.52203146805689449</c:v>
                </c:pt>
                <c:pt idx="23">
                  <c:v>0.27636960073600297</c:v>
                </c:pt>
                <c:pt idx="24">
                  <c:v>0.25589777845926204</c:v>
                </c:pt>
                <c:pt idx="25">
                  <c:v>7.1651377968593361E-2</c:v>
                </c:pt>
                <c:pt idx="26">
                  <c:v>0.11259502252207527</c:v>
                </c:pt>
                <c:pt idx="27">
                  <c:v>7.1651377968593361E-2</c:v>
                </c:pt>
                <c:pt idx="28">
                  <c:v>2.0471822276740961E-2</c:v>
                </c:pt>
                <c:pt idx="29">
                  <c:v>5.1179555691852403E-2</c:v>
                </c:pt>
                <c:pt idx="30">
                  <c:v>7.1651377968593361E-2</c:v>
                </c:pt>
                <c:pt idx="31">
                  <c:v>4.0943644553481921E-2</c:v>
                </c:pt>
                <c:pt idx="32">
                  <c:v>0.13306684479881625</c:v>
                </c:pt>
                <c:pt idx="33">
                  <c:v>7.1651377968593361E-2</c:v>
                </c:pt>
                <c:pt idx="34">
                  <c:v>0.14330275593718672</c:v>
                </c:pt>
                <c:pt idx="35">
                  <c:v>0.30707733415111438</c:v>
                </c:pt>
                <c:pt idx="36">
                  <c:v>0.38896462325807823</c:v>
                </c:pt>
                <c:pt idx="37">
                  <c:v>0.44014417894993063</c:v>
                </c:pt>
                <c:pt idx="38">
                  <c:v>0.70627786854756314</c:v>
                </c:pt>
                <c:pt idx="39">
                  <c:v>0.63462649057896969</c:v>
                </c:pt>
                <c:pt idx="40">
                  <c:v>1.1668938697742346</c:v>
                </c:pt>
                <c:pt idx="41">
                  <c:v>1.9345872051520208</c:v>
                </c:pt>
                <c:pt idx="42">
                  <c:v>3.6030407207064088</c:v>
                </c:pt>
                <c:pt idx="43">
                  <c:v>5.8549411711479147</c:v>
                </c:pt>
                <c:pt idx="44">
                  <c:v>7.6052819758092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46</c:f>
              <c:strCache>
                <c:ptCount val="45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</c:strCache>
            </c:strRef>
          </c:cat>
          <c:val>
            <c:numRef>
              <c:f>List1!$E$2:$E$46</c:f>
              <c:numCache>
                <c:formatCode>General</c:formatCode>
                <c:ptCount val="45"/>
                <c:pt idx="0">
                  <c:v>6.6805575610655081</c:v>
                </c:pt>
                <c:pt idx="1">
                  <c:v>6.1539045351931732</c:v>
                </c:pt>
                <c:pt idx="2">
                  <c:v>5.8316602179927495</c:v>
                </c:pt>
                <c:pt idx="3">
                  <c:v>4.9875724915946238</c:v>
                </c:pt>
                <c:pt idx="4">
                  <c:v>4.0677333025710247</c:v>
                </c:pt>
                <c:pt idx="5">
                  <c:v>3.2573128928953317</c:v>
                </c:pt>
                <c:pt idx="6">
                  <c:v>2.4829646082793873</c:v>
                </c:pt>
                <c:pt idx="7">
                  <c:v>2.0621231492489822</c:v>
                </c:pt>
                <c:pt idx="8">
                  <c:v>1.6509009235678442</c:v>
                </c:pt>
                <c:pt idx="9">
                  <c:v>1.4945883816422654</c:v>
                </c:pt>
                <c:pt idx="10">
                  <c:v>1.3478950730659529</c:v>
                </c:pt>
                <c:pt idx="11">
                  <c:v>1.460921064919833</c:v>
                </c:pt>
                <c:pt idx="12">
                  <c:v>1.6557105402424774</c:v>
                </c:pt>
                <c:pt idx="13">
                  <c:v>1.8444879947218307</c:v>
                </c:pt>
                <c:pt idx="14">
                  <c:v>1.8264519321919561</c:v>
                </c:pt>
                <c:pt idx="15">
                  <c:v>1.9238466698532783</c:v>
                </c:pt>
                <c:pt idx="16">
                  <c:v>1.9118226281666952</c:v>
                </c:pt>
                <c:pt idx="17">
                  <c:v>1.7122235361694178</c:v>
                </c:pt>
                <c:pt idx="18">
                  <c:v>1.3767527731137523</c:v>
                </c:pt>
                <c:pt idx="19">
                  <c:v>1.1158310685149013</c:v>
                </c:pt>
                <c:pt idx="20">
                  <c:v>0.8272540680369096</c:v>
                </c:pt>
                <c:pt idx="21">
                  <c:v>0.57114198011269202</c:v>
                </c:pt>
                <c:pt idx="22">
                  <c:v>0.34989961307956496</c:v>
                </c:pt>
                <c:pt idx="23">
                  <c:v>0.28136257546604193</c:v>
                </c:pt>
                <c:pt idx="24">
                  <c:v>0.16472937110618693</c:v>
                </c:pt>
                <c:pt idx="25">
                  <c:v>0.1130259918538801</c:v>
                </c:pt>
                <c:pt idx="26">
                  <c:v>7.2144250119497932E-2</c:v>
                </c:pt>
                <c:pt idx="27">
                  <c:v>6.8537037613523033E-2</c:v>
                </c:pt>
                <c:pt idx="28">
                  <c:v>7.0941845950839633E-2</c:v>
                </c:pt>
                <c:pt idx="29">
                  <c:v>5.6512995926940049E-2</c:v>
                </c:pt>
                <c:pt idx="30">
                  <c:v>6.8537037613523033E-2</c:v>
                </c:pt>
                <c:pt idx="31">
                  <c:v>8.7775504312055816E-2</c:v>
                </c:pt>
                <c:pt idx="32">
                  <c:v>0.15270532941960396</c:v>
                </c:pt>
                <c:pt idx="33">
                  <c:v>0.1923846669853278</c:v>
                </c:pt>
                <c:pt idx="34">
                  <c:v>0.31983950886310747</c:v>
                </c:pt>
                <c:pt idx="35">
                  <c:v>0.3847693339706556</c:v>
                </c:pt>
                <c:pt idx="36">
                  <c:v>0.50140253833051063</c:v>
                </c:pt>
                <c:pt idx="37">
                  <c:v>0.48096166746331959</c:v>
                </c:pt>
                <c:pt idx="38">
                  <c:v>0.44488954240357059</c:v>
                </c:pt>
                <c:pt idx="39">
                  <c:v>0.45931839242747013</c:v>
                </c:pt>
                <c:pt idx="40">
                  <c:v>0.48937849664392769</c:v>
                </c:pt>
                <c:pt idx="41">
                  <c:v>0.63486940105158185</c:v>
                </c:pt>
                <c:pt idx="42">
                  <c:v>0.84889734307275888</c:v>
                </c:pt>
                <c:pt idx="43">
                  <c:v>1.0388772017207704</c:v>
                </c:pt>
                <c:pt idx="44">
                  <c:v>0.959518526589322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46</c:f>
              <c:strCache>
                <c:ptCount val="45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</c:strCache>
            </c:strRef>
          </c:cat>
          <c:val>
            <c:numRef>
              <c:f>List1!$G$2:$G$46</c:f>
              <c:numCache>
                <c:formatCode>General</c:formatCode>
                <c:ptCount val="45"/>
                <c:pt idx="0">
                  <c:v>3.7340044584013232</c:v>
                </c:pt>
                <c:pt idx="1">
                  <c:v>3.194009967494055</c:v>
                </c:pt>
                <c:pt idx="2">
                  <c:v>3.0618836558890847</c:v>
                </c:pt>
                <c:pt idx="3">
                  <c:v>2.4816768092759567</c:v>
                </c:pt>
                <c:pt idx="4">
                  <c:v>2.3323166309399035</c:v>
                </c:pt>
                <c:pt idx="5">
                  <c:v>2.2633811640155712</c:v>
                </c:pt>
                <c:pt idx="6">
                  <c:v>2.3495504976709864</c:v>
                </c:pt>
                <c:pt idx="7">
                  <c:v>1.5510480057974729</c:v>
                </c:pt>
                <c:pt idx="8">
                  <c:v>1.4189216941925029</c:v>
                </c:pt>
                <c:pt idx="9">
                  <c:v>1.0684997373271479</c:v>
                </c:pt>
                <c:pt idx="10">
                  <c:v>1.0053088926465101</c:v>
                </c:pt>
                <c:pt idx="11">
                  <c:v>0.84445946982306852</c:v>
                </c:pt>
                <c:pt idx="12">
                  <c:v>0.8904164477726233</c:v>
                </c:pt>
                <c:pt idx="13">
                  <c:v>0.77552400289873646</c:v>
                </c:pt>
                <c:pt idx="14">
                  <c:v>0.87318258104154034</c:v>
                </c:pt>
                <c:pt idx="15">
                  <c:v>0.79275786962981942</c:v>
                </c:pt>
                <c:pt idx="16">
                  <c:v>0.80424711411720817</c:v>
                </c:pt>
                <c:pt idx="17">
                  <c:v>0.77552400289873646</c:v>
                </c:pt>
                <c:pt idx="18">
                  <c:v>0.53424986866357393</c:v>
                </c:pt>
                <c:pt idx="19">
                  <c:v>0.49403751295771353</c:v>
                </c:pt>
                <c:pt idx="20">
                  <c:v>0.29297573442841152</c:v>
                </c:pt>
                <c:pt idx="21">
                  <c:v>0.33893271237796624</c:v>
                </c:pt>
                <c:pt idx="22">
                  <c:v>0.12638168936127556</c:v>
                </c:pt>
                <c:pt idx="23">
                  <c:v>6.8935466924332126E-2</c:v>
                </c:pt>
                <c:pt idx="24">
                  <c:v>5.1701600193249098E-2</c:v>
                </c:pt>
                <c:pt idx="25">
                  <c:v>4.0212355705860403E-2</c:v>
                </c:pt>
                <c:pt idx="26">
                  <c:v>6.3190844680637778E-2</c:v>
                </c:pt>
                <c:pt idx="27">
                  <c:v>8.6169333655415153E-2</c:v>
                </c:pt>
                <c:pt idx="28">
                  <c:v>0.16084942282344161</c:v>
                </c:pt>
                <c:pt idx="29">
                  <c:v>0.18957253404191335</c:v>
                </c:pt>
                <c:pt idx="30">
                  <c:v>0.2872311121847172</c:v>
                </c:pt>
                <c:pt idx="31">
                  <c:v>0.24701875647885677</c:v>
                </c:pt>
                <c:pt idx="32">
                  <c:v>0.21255102301669074</c:v>
                </c:pt>
                <c:pt idx="33">
                  <c:v>0.28148648994102282</c:v>
                </c:pt>
                <c:pt idx="34">
                  <c:v>0.22978488974777372</c:v>
                </c:pt>
                <c:pt idx="35">
                  <c:v>0.21829564526038508</c:v>
                </c:pt>
                <c:pt idx="36">
                  <c:v>0.24701875647885677</c:v>
                </c:pt>
                <c:pt idx="37">
                  <c:v>0.12063706711758121</c:v>
                </c:pt>
                <c:pt idx="38">
                  <c:v>0.17233866731083031</c:v>
                </c:pt>
                <c:pt idx="39">
                  <c:v>0.12638168936127556</c:v>
                </c:pt>
                <c:pt idx="40">
                  <c:v>0.26425262320993981</c:v>
                </c:pt>
                <c:pt idx="41">
                  <c:v>0.45382515725185313</c:v>
                </c:pt>
                <c:pt idx="42">
                  <c:v>0.76977938065504203</c:v>
                </c:pt>
                <c:pt idx="43">
                  <c:v>0.90765031450370626</c:v>
                </c:pt>
                <c:pt idx="44">
                  <c:v>0.764034758411347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J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46</c:f>
              <c:strCache>
                <c:ptCount val="45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</c:strCache>
            </c:strRef>
          </c:cat>
          <c:val>
            <c:numRef>
              <c:f>List1!$J$2:$J$46</c:f>
              <c:numCache>
                <c:formatCode>General</c:formatCode>
                <c:ptCount val="45"/>
                <c:pt idx="0">
                  <c:v>5.4928932499270644</c:v>
                </c:pt>
                <c:pt idx="1">
                  <c:v>5.7378999992043864</c:v>
                </c:pt>
                <c:pt idx="2">
                  <c:v>5.3269209359004916</c:v>
                </c:pt>
                <c:pt idx="3">
                  <c:v>4.8211005502956965</c:v>
                </c:pt>
                <c:pt idx="4">
                  <c:v>5.0608383372229691</c:v>
                </c:pt>
                <c:pt idx="5">
                  <c:v>4.5471145080930997</c:v>
                </c:pt>
                <c:pt idx="6">
                  <c:v>3.6118736909592348</c:v>
                </c:pt>
                <c:pt idx="7">
                  <c:v>4.2415146917902034</c:v>
                </c:pt>
                <c:pt idx="8">
                  <c:v>4.0044113860379555</c:v>
                </c:pt>
                <c:pt idx="9">
                  <c:v>5.0028797513724195</c:v>
                </c:pt>
                <c:pt idx="10">
                  <c:v>5.6483276392535382</c:v>
                </c:pt>
                <c:pt idx="11">
                  <c:v>6.8259407244896995</c:v>
                </c:pt>
                <c:pt idx="12">
                  <c:v>8.1062985755518362</c:v>
                </c:pt>
                <c:pt idx="13">
                  <c:v>9.2180496314123737</c:v>
                </c:pt>
                <c:pt idx="14">
                  <c:v>9.5447252971154697</c:v>
                </c:pt>
                <c:pt idx="15">
                  <c:v>8.9282567021596257</c:v>
                </c:pt>
                <c:pt idx="16">
                  <c:v>7.020892331441547</c:v>
                </c:pt>
                <c:pt idx="17">
                  <c:v>5.160948621873918</c:v>
                </c:pt>
                <c:pt idx="18">
                  <c:v>4.4127559681668265</c:v>
                </c:pt>
                <c:pt idx="19">
                  <c:v>3.3431566111066884</c:v>
                </c:pt>
                <c:pt idx="20">
                  <c:v>2.1497366388203765</c:v>
                </c:pt>
                <c:pt idx="21">
                  <c:v>1.1012131311604378</c:v>
                </c:pt>
                <c:pt idx="22">
                  <c:v>1.1196544993856126</c:v>
                </c:pt>
                <c:pt idx="23">
                  <c:v>0.67706166198141748</c:v>
                </c:pt>
                <c:pt idx="24">
                  <c:v>0.40307561977882056</c:v>
                </c:pt>
                <c:pt idx="25">
                  <c:v>0.2792550045526469</c:v>
                </c:pt>
                <c:pt idx="26">
                  <c:v>0.20812401282697271</c:v>
                </c:pt>
                <c:pt idx="27">
                  <c:v>0.1448964646263734</c:v>
                </c:pt>
                <c:pt idx="28">
                  <c:v>7.113099172567422E-2</c:v>
                </c:pt>
                <c:pt idx="29">
                  <c:v>5.795858585054936E-2</c:v>
                </c:pt>
                <c:pt idx="30">
                  <c:v>6.8496510550649245E-2</c:v>
                </c:pt>
                <c:pt idx="31">
                  <c:v>4.4786179975424507E-2</c:v>
                </c:pt>
                <c:pt idx="32">
                  <c:v>4.4786179975424507E-2</c:v>
                </c:pt>
                <c:pt idx="33">
                  <c:v>6.3227548200599309E-2</c:v>
                </c:pt>
                <c:pt idx="34">
                  <c:v>9.7475803475923925E-2</c:v>
                </c:pt>
                <c:pt idx="35">
                  <c:v>0.12382061522617363</c:v>
                </c:pt>
                <c:pt idx="36">
                  <c:v>0.16333783285154821</c:v>
                </c:pt>
                <c:pt idx="37">
                  <c:v>0.22129641870209754</c:v>
                </c:pt>
                <c:pt idx="38">
                  <c:v>0.32404118452807146</c:v>
                </c:pt>
                <c:pt idx="39">
                  <c:v>0.4663031679794199</c:v>
                </c:pt>
                <c:pt idx="40">
                  <c:v>0.65071685023116776</c:v>
                </c:pt>
                <c:pt idx="41">
                  <c:v>0.88782015598341513</c:v>
                </c:pt>
                <c:pt idx="42">
                  <c:v>1.4700404956639337</c:v>
                </c:pt>
                <c:pt idx="43">
                  <c:v>2.0285505047692274</c:v>
                </c:pt>
                <c:pt idx="44">
                  <c:v>2.87685344312726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46</c:f>
              <c:strCache>
                <c:ptCount val="45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</c:strCache>
            </c:strRef>
          </c:cat>
          <c:val>
            <c:numRef>
              <c:f>List1!$B$2:$B$46</c:f>
              <c:numCache>
                <c:formatCode>General</c:formatCode>
                <c:ptCount val="45"/>
                <c:pt idx="0">
                  <c:v>3.8759411234432202</c:v>
                </c:pt>
                <c:pt idx="1">
                  <c:v>3.9995218549153226</c:v>
                </c:pt>
                <c:pt idx="2">
                  <c:v>3.347914361698781</c:v>
                </c:pt>
                <c:pt idx="3">
                  <c:v>3.2243336302266785</c:v>
                </c:pt>
                <c:pt idx="4">
                  <c:v>2.4491454055380344</c:v>
                </c:pt>
                <c:pt idx="5">
                  <c:v>2.0559339872177076</c:v>
                </c:pt>
                <c:pt idx="6">
                  <c:v>1.6964264047534094</c:v>
                </c:pt>
                <c:pt idx="7">
                  <c:v>1.651487956945372</c:v>
                </c:pt>
                <c:pt idx="8">
                  <c:v>1.4829687776652321</c:v>
                </c:pt>
                <c:pt idx="9">
                  <c:v>1.7863033003694837</c:v>
                </c:pt>
                <c:pt idx="10">
                  <c:v>2.0334647633136891</c:v>
                </c:pt>
                <c:pt idx="11">
                  <c:v>1.9997609274576613</c:v>
                </c:pt>
                <c:pt idx="12">
                  <c:v>2.3929723457779879</c:v>
                </c:pt>
                <c:pt idx="13">
                  <c:v>2.3255646740659319</c:v>
                </c:pt>
                <c:pt idx="14">
                  <c:v>2.224453166497848</c:v>
                </c:pt>
                <c:pt idx="15">
                  <c:v>1.7750686884174747</c:v>
                </c:pt>
                <c:pt idx="16">
                  <c:v>1.7638340764654652</c:v>
                </c:pt>
                <c:pt idx="17">
                  <c:v>1.2470419266730359</c:v>
                </c:pt>
                <c:pt idx="18">
                  <c:v>0.92123818006476521</c:v>
                </c:pt>
                <c:pt idx="19">
                  <c:v>0.61790365736051334</c:v>
                </c:pt>
                <c:pt idx="20">
                  <c:v>0.50555753784042001</c:v>
                </c:pt>
                <c:pt idx="21">
                  <c:v>0.33703835856027997</c:v>
                </c:pt>
                <c:pt idx="22">
                  <c:v>0.19098840318415863</c:v>
                </c:pt>
                <c:pt idx="23">
                  <c:v>0.11234611952009332</c:v>
                </c:pt>
                <c:pt idx="24">
                  <c:v>5.6173059760046662E-2</c:v>
                </c:pt>
                <c:pt idx="25">
                  <c:v>3.3703835856028E-2</c:v>
                </c:pt>
                <c:pt idx="26">
                  <c:v>1.1234611952009333E-2</c:v>
                </c:pt>
                <c:pt idx="27">
                  <c:v>3.3703835856028E-2</c:v>
                </c:pt>
                <c:pt idx="28">
                  <c:v>4.4938447808037331E-2</c:v>
                </c:pt>
                <c:pt idx="29">
                  <c:v>4.4938447808037331E-2</c:v>
                </c:pt>
                <c:pt idx="30">
                  <c:v>6.7407671712056E-2</c:v>
                </c:pt>
                <c:pt idx="31">
                  <c:v>8.9876895616074662E-2</c:v>
                </c:pt>
                <c:pt idx="32">
                  <c:v>7.8642283664065324E-2</c:v>
                </c:pt>
                <c:pt idx="33">
                  <c:v>0.29209991075224268</c:v>
                </c:pt>
                <c:pt idx="34">
                  <c:v>0.41568064222434531</c:v>
                </c:pt>
                <c:pt idx="35">
                  <c:v>0.42691525417635462</c:v>
                </c:pt>
                <c:pt idx="36">
                  <c:v>0.69654594102457867</c:v>
                </c:pt>
                <c:pt idx="37">
                  <c:v>0.75271900078462528</c:v>
                </c:pt>
                <c:pt idx="38">
                  <c:v>0.61790365736051334</c:v>
                </c:pt>
                <c:pt idx="39">
                  <c:v>0.65160749321654132</c:v>
                </c:pt>
                <c:pt idx="40">
                  <c:v>0.86506512030471872</c:v>
                </c:pt>
                <c:pt idx="41">
                  <c:v>0.83136128444869062</c:v>
                </c:pt>
                <c:pt idx="42">
                  <c:v>0.92123818006476521</c:v>
                </c:pt>
                <c:pt idx="43">
                  <c:v>1.4380303298571946</c:v>
                </c:pt>
                <c:pt idx="44">
                  <c:v>2.05593398721770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6</c:f>
              <c:strCache>
                <c:ptCount val="45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</c:strCache>
            </c:strRef>
          </c:cat>
          <c:val>
            <c:numRef>
              <c:f>List1!$L$2:$L$46</c:f>
              <c:numCache>
                <c:formatCode>General</c:formatCode>
                <c:ptCount val="45"/>
                <c:pt idx="0">
                  <c:v>11.121548632590022</c:v>
                </c:pt>
                <c:pt idx="1">
                  <c:v>11.176515100296397</c:v>
                </c:pt>
                <c:pt idx="2">
                  <c:v>11.3963809711219</c:v>
                </c:pt>
                <c:pt idx="3">
                  <c:v>11.616246841947403</c:v>
                </c:pt>
                <c:pt idx="4">
                  <c:v>11.946045648185658</c:v>
                </c:pt>
                <c:pt idx="5">
                  <c:v>12.459066013445165</c:v>
                </c:pt>
                <c:pt idx="6">
                  <c:v>12.440743857543039</c:v>
                </c:pt>
                <c:pt idx="7">
                  <c:v>12.110945051304784</c:v>
                </c:pt>
                <c:pt idx="8">
                  <c:v>12.055978583598408</c:v>
                </c:pt>
                <c:pt idx="9">
                  <c:v>11.597924686045278</c:v>
                </c:pt>
                <c:pt idx="10">
                  <c:v>9.380943821888124</c:v>
                </c:pt>
                <c:pt idx="11">
                  <c:v>8.7030240535094894</c:v>
                </c:pt>
                <c:pt idx="12">
                  <c:v>7.4021509844585971</c:v>
                </c:pt>
                <c:pt idx="13">
                  <c:v>5.4600024588333218</c:v>
                </c:pt>
                <c:pt idx="14">
                  <c:v>5.0935593407908168</c:v>
                </c:pt>
                <c:pt idx="15">
                  <c:v>4.0675186102718035</c:v>
                </c:pt>
                <c:pt idx="16">
                  <c:v>3.2063772828719173</c:v>
                </c:pt>
                <c:pt idx="17">
                  <c:v>1.7772491225061484</c:v>
                </c:pt>
                <c:pt idx="18">
                  <c:v>1.8322155902125243</c:v>
                </c:pt>
                <c:pt idx="19">
                  <c:v>0.9527521069105126</c:v>
                </c:pt>
                <c:pt idx="20">
                  <c:v>0.87946348330201152</c:v>
                </c:pt>
                <c:pt idx="21">
                  <c:v>0.60463114477013291</c:v>
                </c:pt>
                <c:pt idx="22">
                  <c:v>0.32979880623825436</c:v>
                </c:pt>
                <c:pt idx="23">
                  <c:v>0.21986587082550288</c:v>
                </c:pt>
                <c:pt idx="24">
                  <c:v>0.21986587082550288</c:v>
                </c:pt>
                <c:pt idx="25">
                  <c:v>0.16489940311912718</c:v>
                </c:pt>
                <c:pt idx="26" formatCode="0.00000">
                  <c:v>0</c:v>
                </c:pt>
                <c:pt idx="27">
                  <c:v>1.8322155902125242E-2</c:v>
                </c:pt>
                <c:pt idx="28">
                  <c:v>1.8322155902125242E-2</c:v>
                </c:pt>
                <c:pt idx="29">
                  <c:v>7.3288623608500969E-2</c:v>
                </c:pt>
                <c:pt idx="30">
                  <c:v>1.8322155902125242E-2</c:v>
                </c:pt>
                <c:pt idx="31">
                  <c:v>1.8322155902125242E-2</c:v>
                </c:pt>
                <c:pt idx="32">
                  <c:v>1.8322155902125242E-2</c:v>
                </c:pt>
                <c:pt idx="33">
                  <c:v>5.496646770637572E-2</c:v>
                </c:pt>
                <c:pt idx="34">
                  <c:v>5.496646770637572E-2</c:v>
                </c:pt>
                <c:pt idx="35">
                  <c:v>0.42140958574888054</c:v>
                </c:pt>
                <c:pt idx="36">
                  <c:v>0.56798683296588248</c:v>
                </c:pt>
                <c:pt idx="37">
                  <c:v>1.0626850423232641</c:v>
                </c:pt>
                <c:pt idx="38">
                  <c:v>1.3558395367572678</c:v>
                </c:pt>
                <c:pt idx="39">
                  <c:v>1.3558395367572678</c:v>
                </c:pt>
                <c:pt idx="40">
                  <c:v>1.6856383429955222</c:v>
                </c:pt>
                <c:pt idx="41">
                  <c:v>1.2642287572466417</c:v>
                </c:pt>
                <c:pt idx="42">
                  <c:v>1.6489940311912719</c:v>
                </c:pt>
                <c:pt idx="43">
                  <c:v>1.7039604988976476</c:v>
                </c:pt>
                <c:pt idx="44">
                  <c:v>1.19094013363814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M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M$2:$M$46</c:f>
              <c:numCache>
                <c:formatCode>General</c:formatCode>
                <c:ptCount val="45"/>
                <c:pt idx="0">
                  <c:v>3.3296280657560979</c:v>
                </c:pt>
                <c:pt idx="1">
                  <c:v>4.8613414843304446</c:v>
                </c:pt>
                <c:pt idx="2">
                  <c:v>7.1346154683111305</c:v>
                </c:pt>
                <c:pt idx="3">
                  <c:v>8.0029385235305188</c:v>
                </c:pt>
                <c:pt idx="4">
                  <c:v>6.8515125743953202</c:v>
                </c:pt>
                <c:pt idx="5">
                  <c:v>5.1402189619191541</c:v>
                </c:pt>
                <c:pt idx="6">
                  <c:v>3.5472370066018324</c:v>
                </c:pt>
                <c:pt idx="7">
                  <c:v>2.7655349860880278</c:v>
                </c:pt>
                <c:pt idx="8">
                  <c:v>1.9394660941396562</c:v>
                </c:pt>
                <c:pt idx="9">
                  <c:v>1.495797379793983</c:v>
                </c:pt>
                <c:pt idx="10">
                  <c:v>1.221145318532376</c:v>
                </c:pt>
                <c:pt idx="11">
                  <c:v>1.0669176225931658</c:v>
                </c:pt>
                <c:pt idx="12">
                  <c:v>1.1112844940277331</c:v>
                </c:pt>
                <c:pt idx="13">
                  <c:v>1.1683276144436054</c:v>
                </c:pt>
                <c:pt idx="14">
                  <c:v>1.1767784470978087</c:v>
                </c:pt>
                <c:pt idx="15">
                  <c:v>1.0859319960651233</c:v>
                </c:pt>
                <c:pt idx="16">
                  <c:v>0.90635180216330336</c:v>
                </c:pt>
                <c:pt idx="17">
                  <c:v>0.9253661756352608</c:v>
                </c:pt>
                <c:pt idx="18">
                  <c:v>0.71832077560728003</c:v>
                </c:pt>
                <c:pt idx="19">
                  <c:v>0.54719141435966334</c:v>
                </c:pt>
                <c:pt idx="20">
                  <c:v>0.38662559392980073</c:v>
                </c:pt>
                <c:pt idx="21">
                  <c:v>0.43521788169146963</c:v>
                </c:pt>
                <c:pt idx="22">
                  <c:v>0.29155372657001366</c:v>
                </c:pt>
                <c:pt idx="23">
                  <c:v>0.24929956329899719</c:v>
                </c:pt>
                <c:pt idx="24">
                  <c:v>0.23873602248124307</c:v>
                </c:pt>
                <c:pt idx="25">
                  <c:v>0.17958019390182001</c:v>
                </c:pt>
                <c:pt idx="26">
                  <c:v>0.17535477757471835</c:v>
                </c:pt>
                <c:pt idx="27">
                  <c:v>0.32113164085972518</c:v>
                </c:pt>
                <c:pt idx="28">
                  <c:v>0.71832077560728003</c:v>
                </c:pt>
                <c:pt idx="29">
                  <c:v>1.05212866544831</c:v>
                </c:pt>
                <c:pt idx="30">
                  <c:v>1.2845265634389007</c:v>
                </c:pt>
                <c:pt idx="31">
                  <c:v>1.5528405002098553</c:v>
                </c:pt>
                <c:pt idx="32">
                  <c:v>1.4218525940697042</c:v>
                </c:pt>
                <c:pt idx="33">
                  <c:v>1.2232580266959268</c:v>
                </c:pt>
                <c:pt idx="34">
                  <c:v>1.05212866544831</c:v>
                </c:pt>
                <c:pt idx="35">
                  <c:v>0.82184347562127025</c:v>
                </c:pt>
                <c:pt idx="36">
                  <c:v>0.68663015315401765</c:v>
                </c:pt>
                <c:pt idx="37">
                  <c:v>0.47747204496248613</c:v>
                </c:pt>
                <c:pt idx="38">
                  <c:v>0.36761122045784328</c:v>
                </c:pt>
                <c:pt idx="39">
                  <c:v>0.2852156020793612</c:v>
                </c:pt>
                <c:pt idx="40">
                  <c:v>0.24084873064479387</c:v>
                </c:pt>
                <c:pt idx="41">
                  <c:v>0.24718685513544633</c:v>
                </c:pt>
                <c:pt idx="42">
                  <c:v>0.20493269186442992</c:v>
                </c:pt>
                <c:pt idx="43">
                  <c:v>0.17535477757471835</c:v>
                </c:pt>
                <c:pt idx="44">
                  <c:v>0.175354777574718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ser>
          <c:idx val="8"/>
          <c:order val="11"/>
          <c:tx>
            <c:strRef>
              <c:f>List1!$H$1</c:f>
              <c:strCache>
                <c:ptCount val="1"/>
                <c:pt idx="0">
                  <c:v>Velká Británi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6</c:f>
              <c:strCache>
                <c:ptCount val="45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</c:strCache>
            </c:strRef>
          </c:cat>
          <c:val>
            <c:numRef>
              <c:f>List1!$H$2:$H$46</c:f>
              <c:numCache>
                <c:formatCode>General</c:formatCode>
                <c:ptCount val="45"/>
                <c:pt idx="0">
                  <c:v>9.4137715205215748</c:v>
                </c:pt>
                <c:pt idx="1">
                  <c:v>11.504577962491638</c:v>
                </c:pt>
                <c:pt idx="2">
                  <c:v>12.75053991807183</c:v>
                </c:pt>
                <c:pt idx="3">
                  <c:v>12.076133623718873</c:v>
                </c:pt>
                <c:pt idx="4">
                  <c:v>9.756117199354339</c:v>
                </c:pt>
                <c:pt idx="5">
                  <c:v>6.4178795070451429</c:v>
                </c:pt>
                <c:pt idx="6">
                  <c:v>5.0161723070174267</c:v>
                </c:pt>
                <c:pt idx="7">
                  <c:v>3.3338298080323789</c:v>
                </c:pt>
                <c:pt idx="8">
                  <c:v>2.4272749417670738</c:v>
                </c:pt>
                <c:pt idx="9">
                  <c:v>1.49133418032299</c:v>
                </c:pt>
                <c:pt idx="10">
                  <c:v>0.93887935096196118</c:v>
                </c:pt>
                <c:pt idx="11">
                  <c:v>0.64208180965630213</c:v>
                </c:pt>
                <c:pt idx="12">
                  <c:v>0.3585079211810932</c:v>
                </c:pt>
                <c:pt idx="13">
                  <c:v>0.3878938163598713</c:v>
                </c:pt>
                <c:pt idx="14">
                  <c:v>0.24978010901961412</c:v>
                </c:pt>
                <c:pt idx="15">
                  <c:v>0.23214857191234722</c:v>
                </c:pt>
                <c:pt idx="16">
                  <c:v>0.16162242348327971</c:v>
                </c:pt>
                <c:pt idx="17">
                  <c:v>9.8442748848906733E-2</c:v>
                </c:pt>
                <c:pt idx="18">
                  <c:v>0.10872781216147907</c:v>
                </c:pt>
                <c:pt idx="19">
                  <c:v>6.1710379875434075E-2</c:v>
                </c:pt>
                <c:pt idx="20">
                  <c:v>8.8157685536334379E-2</c:v>
                </c:pt>
                <c:pt idx="21">
                  <c:v>8.6688390777395485E-2</c:v>
                </c:pt>
                <c:pt idx="22">
                  <c:v>9.4034864572090024E-2</c:v>
                </c:pt>
                <c:pt idx="23">
                  <c:v>0.10578922264360126</c:v>
                </c:pt>
                <c:pt idx="24">
                  <c:v>0.18219255010842439</c:v>
                </c:pt>
                <c:pt idx="25">
                  <c:v>0.19247761342099673</c:v>
                </c:pt>
                <c:pt idx="26">
                  <c:v>0.28504318323414785</c:v>
                </c:pt>
                <c:pt idx="27">
                  <c:v>0.41581041677971048</c:v>
                </c:pt>
                <c:pt idx="28">
                  <c:v>0.66118264152250794</c:v>
                </c:pt>
                <c:pt idx="29">
                  <c:v>0.82427435976472652</c:v>
                </c:pt>
                <c:pt idx="30">
                  <c:v>0.93594076144408334</c:v>
                </c:pt>
                <c:pt idx="31">
                  <c:v>0.87716897108652714</c:v>
                </c:pt>
                <c:pt idx="32">
                  <c:v>1.0094054993910289</c:v>
                </c:pt>
                <c:pt idx="33">
                  <c:v>1.1710279228743086</c:v>
                </c:pt>
                <c:pt idx="34">
                  <c:v>1.1636814490796139</c:v>
                </c:pt>
                <c:pt idx="35">
                  <c:v>1.4266852109296781</c:v>
                </c:pt>
                <c:pt idx="36">
                  <c:v>1.4737026432157232</c:v>
                </c:pt>
                <c:pt idx="37">
                  <c:v>1.4178694423760447</c:v>
                </c:pt>
                <c:pt idx="38">
                  <c:v>1.1533963857670415</c:v>
                </c:pt>
                <c:pt idx="39">
                  <c:v>1.1871901652226364</c:v>
                </c:pt>
                <c:pt idx="40">
                  <c:v>1.20922958660672</c:v>
                </c:pt>
                <c:pt idx="41">
                  <c:v>1.3943607262330222</c:v>
                </c:pt>
                <c:pt idx="42">
                  <c:v>1.6147549400738583</c:v>
                </c:pt>
                <c:pt idx="43">
                  <c:v>1.7234827522353373</c:v>
                </c:pt>
                <c:pt idx="44">
                  <c:v>1.60593917152022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00479224"/>
        <c:axId val="400485496"/>
      </c:lineChart>
      <c:catAx>
        <c:axId val="400479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0485496"/>
        <c:crosses val="autoZero"/>
        <c:auto val="1"/>
        <c:lblAlgn val="ctr"/>
        <c:lblOffset val="100"/>
        <c:tickLblSkip val="1"/>
        <c:noMultiLvlLbl val="1"/>
      </c:catAx>
      <c:valAx>
        <c:axId val="400485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04792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4275707643454352"/>
          <c:y val="1.4875792985185116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4.725794487389709E-2"/>
          <c:w val="0.91393290618325784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mrtnost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8C7-4F71-B6A6-584BFB277F2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8C7-4F71-B6A6-584BFB277F2C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8C7-4F71-B6A6-584BFB277F2C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8C7-4F71-B6A6-584BFB277F2C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8C7-4F71-B6A6-584BFB277F2C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8C7-4F71-B6A6-584BFB277F2C}"/>
              </c:ext>
            </c:extLst>
          </c:dPt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4F9A-47BA-ACF0-8C3946271496}"/>
              </c:ext>
            </c:extLst>
          </c:dPt>
          <c:dPt>
            <c:idx val="2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78C7-4F71-B6A6-584BFB277F2C}"/>
              </c:ext>
            </c:extLst>
          </c:dPt>
          <c:dPt>
            <c:idx val="2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EDBA-4548-9ED7-7A1AACB2C2AF}"/>
              </c:ext>
            </c:extLst>
          </c:dPt>
          <c:dPt>
            <c:idx val="2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EDBA-4548-9ED7-7A1AACB2C2AF}"/>
              </c:ext>
            </c:extLst>
          </c:dPt>
          <c:cat>
            <c:strRef>
              <c:f>List1!$A$2:$A$32</c:f>
              <c:strCache>
                <c:ptCount val="31"/>
                <c:pt idx="0">
                  <c:v>Bulharsko</c:v>
                </c:pt>
                <c:pt idx="1">
                  <c:v>Maďarsko</c:v>
                </c:pt>
                <c:pt idx="2">
                  <c:v>Rumunsko</c:v>
                </c:pt>
                <c:pt idx="3">
                  <c:v>Itálie</c:v>
                </c:pt>
                <c:pt idx="4">
                  <c:v>Polsko</c:v>
                </c:pt>
                <c:pt idx="5">
                  <c:v>Řecko</c:v>
                </c:pt>
                <c:pt idx="6">
                  <c:v>Německo</c:v>
                </c:pt>
                <c:pt idx="7">
                  <c:v>Chorvatsko</c:v>
                </c:pt>
                <c:pt idx="8">
                  <c:v>Španělsko</c:v>
                </c:pt>
                <c:pt idx="9">
                  <c:v>Belgie</c:v>
                </c:pt>
                <c:pt idx="10">
                  <c:v>Lotyšsko</c:v>
                </c:pt>
                <c:pt idx="11">
                  <c:v>Francie</c:v>
                </c:pt>
                <c:pt idx="12">
                  <c:v>Česká republika</c:v>
                </c:pt>
                <c:pt idx="13">
                  <c:v>Portugalsko</c:v>
                </c:pt>
                <c:pt idx="14">
                  <c:v>Lichtenštejnsko</c:v>
                </c:pt>
                <c:pt idx="15">
                  <c:v>Slovensko</c:v>
                </c:pt>
                <c:pt idx="16">
                  <c:v>Velká Británie</c:v>
                </c:pt>
                <c:pt idx="17">
                  <c:v>Litva</c:v>
                </c:pt>
                <c:pt idx="18">
                  <c:v>Slovinsko</c:v>
                </c:pt>
                <c:pt idx="19">
                  <c:v>Malta</c:v>
                </c:pt>
                <c:pt idx="20">
                  <c:v>Švédsko</c:v>
                </c:pt>
                <c:pt idx="21">
                  <c:v>Rakousko</c:v>
                </c:pt>
                <c:pt idx="22">
                  <c:v>Irsko</c:v>
                </c:pt>
                <c:pt idx="23">
                  <c:v>Lucembursko</c:v>
                </c:pt>
                <c:pt idx="24">
                  <c:v>Finsko</c:v>
                </c:pt>
                <c:pt idx="25">
                  <c:v>Nizozemsko</c:v>
                </c:pt>
                <c:pt idx="26">
                  <c:v>Estonsko</c:v>
                </c:pt>
                <c:pt idx="27">
                  <c:v>Dánsko</c:v>
                </c:pt>
                <c:pt idx="28">
                  <c:v>Kypr</c:v>
                </c:pt>
                <c:pt idx="29">
                  <c:v>Norsko</c:v>
                </c:pt>
                <c:pt idx="30">
                  <c:v>Island</c:v>
                </c:pt>
              </c:strCache>
            </c:strRef>
          </c:cat>
          <c:val>
            <c:numRef>
              <c:f>List1!$B$2:$B$32</c:f>
              <c:numCache>
                <c:formatCode>General</c:formatCode>
                <c:ptCount val="31"/>
                <c:pt idx="0">
                  <c:v>3.999731223437316E-2</c:v>
                </c:pt>
                <c:pt idx="1">
                  <c:v>3.233342872752816E-2</c:v>
                </c:pt>
                <c:pt idx="2">
                  <c:v>3.0713696726463346E-2</c:v>
                </c:pt>
                <c:pt idx="3">
                  <c:v>2.7508580303924213E-2</c:v>
                </c:pt>
                <c:pt idx="4">
                  <c:v>2.4862891237092691E-2</c:v>
                </c:pt>
                <c:pt idx="5">
                  <c:v>2.0147569111613819E-2</c:v>
                </c:pt>
                <c:pt idx="6">
                  <c:v>1.9331589744077903E-2</c:v>
                </c:pt>
                <c:pt idx="7">
                  <c:v>1.8622923289150124E-2</c:v>
                </c:pt>
                <c:pt idx="8" formatCode="0.0000000">
                  <c:v>1.7372866499201601E-2</c:v>
                </c:pt>
                <c:pt idx="9">
                  <c:v>1.7323208510474631E-2</c:v>
                </c:pt>
                <c:pt idx="10">
                  <c:v>1.7179971540081052E-2</c:v>
                </c:pt>
                <c:pt idx="11">
                  <c:v>1.6796376834615306E-2</c:v>
                </c:pt>
                <c:pt idx="12">
                  <c:v>1.6621534521080599E-2</c:v>
                </c:pt>
                <c:pt idx="13">
                  <c:v>1.6475659563181203E-2</c:v>
                </c:pt>
                <c:pt idx="14">
                  <c:v>1.5831819361536464E-2</c:v>
                </c:pt>
                <c:pt idx="15">
                  <c:v>1.4987347855142327E-2</c:v>
                </c:pt>
                <c:pt idx="16">
                  <c:v>1.4945771401383879E-2</c:v>
                </c:pt>
                <c:pt idx="17">
                  <c:v>1.4428536078278103E-2</c:v>
                </c:pt>
                <c:pt idx="18">
                  <c:v>1.3857524122356805E-2</c:v>
                </c:pt>
                <c:pt idx="19">
                  <c:v>1.3004915858194398E-2</c:v>
                </c:pt>
                <c:pt idx="20">
                  <c:v>1.2741144828343305E-2</c:v>
                </c:pt>
                <c:pt idx="21">
                  <c:v>1.1753172012041702E-2</c:v>
                </c:pt>
                <c:pt idx="22">
                  <c:v>1.0532614724587433E-2</c:v>
                </c:pt>
                <c:pt idx="23">
                  <c:v>1.0481792652344247E-2</c:v>
                </c:pt>
                <c:pt idx="24">
                  <c:v>9.8508940984134742E-3</c:v>
                </c:pt>
                <c:pt idx="25">
                  <c:v>8.1806282722513089E-3</c:v>
                </c:pt>
                <c:pt idx="26">
                  <c:v>7.9488638768819755E-3</c:v>
                </c:pt>
                <c:pt idx="27">
                  <c:v>6.5648934507372483E-3</c:v>
                </c:pt>
                <c:pt idx="28">
                  <c:v>5.5494948536735757E-3</c:v>
                </c:pt>
                <c:pt idx="29">
                  <c:v>5.2994979652544851E-3</c:v>
                </c:pt>
                <c:pt idx="30">
                  <c:v>2.1610627343799657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01590432"/>
        <c:axId val="401589256"/>
      </c:barChart>
      <c:catAx>
        <c:axId val="4015904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1589256"/>
        <c:crosses val="autoZero"/>
        <c:auto val="1"/>
        <c:lblAlgn val="ctr"/>
        <c:lblOffset val="100"/>
        <c:noMultiLvlLbl val="0"/>
      </c:catAx>
      <c:valAx>
        <c:axId val="401589256"/>
        <c:scaling>
          <c:orientation val="minMax"/>
        </c:scaling>
        <c:delete val="0"/>
        <c:axPos val="l"/>
        <c:numFmt formatCode="0.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1590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4.725794487389709E-2"/>
          <c:w val="0.91393290618325784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mrtnost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8C7-4F71-B6A6-584BFB277F2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8C7-4F71-B6A6-584BFB277F2C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8C7-4F71-B6A6-584BFB277F2C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8C7-4F71-B6A6-584BFB277F2C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8C7-4F71-B6A6-584BFB277F2C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8C7-4F71-B6A6-584BFB277F2C}"/>
              </c:ext>
            </c:extLst>
          </c:dPt>
          <c:dPt>
            <c:idx val="1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8C7-4F71-B6A6-584BFB277F2C}"/>
              </c:ext>
            </c:extLst>
          </c:dPt>
          <c:cat>
            <c:strRef>
              <c:f>List1!$A$2:$A$31</c:f>
              <c:strCache>
                <c:ptCount val="30"/>
                <c:pt idx="0">
                  <c:v>Portugalsko</c:v>
                </c:pt>
                <c:pt idx="1">
                  <c:v>Irsko</c:v>
                </c:pt>
                <c:pt idx="2">
                  <c:v>Malta</c:v>
                </c:pt>
                <c:pt idx="3">
                  <c:v>Island</c:v>
                </c:pt>
                <c:pt idx="4">
                  <c:v>Norsko</c:v>
                </c:pt>
                <c:pt idx="5">
                  <c:v>Španělsko</c:v>
                </c:pt>
                <c:pt idx="6">
                  <c:v>Dánsko</c:v>
                </c:pt>
                <c:pt idx="7">
                  <c:v>Francie</c:v>
                </c:pt>
                <c:pt idx="8">
                  <c:v>Finsko</c:v>
                </c:pt>
                <c:pt idx="9">
                  <c:v>Nizozemsko</c:v>
                </c:pt>
                <c:pt idx="10">
                  <c:v>Itálie</c:v>
                </c:pt>
                <c:pt idx="11">
                  <c:v>Belgie</c:v>
                </c:pt>
                <c:pt idx="12">
                  <c:v>Švédsko</c:v>
                </c:pt>
                <c:pt idx="13">
                  <c:v>Německo</c:v>
                </c:pt>
                <c:pt idx="14">
                  <c:v>Kypr</c:v>
                </c:pt>
                <c:pt idx="15">
                  <c:v>Rakousko</c:v>
                </c:pt>
                <c:pt idx="16">
                  <c:v>Lucembursko</c:v>
                </c:pt>
                <c:pt idx="17">
                  <c:v>Lichtenštejnsko</c:v>
                </c:pt>
                <c:pt idx="18">
                  <c:v>Litva</c:v>
                </c:pt>
                <c:pt idx="19">
                  <c:v>Řecko</c:v>
                </c:pt>
                <c:pt idx="20">
                  <c:v>Lotyšsko</c:v>
                </c:pt>
                <c:pt idx="21">
                  <c:v>Estonsko</c:v>
                </c:pt>
                <c:pt idx="22">
                  <c:v>Česká republika</c:v>
                </c:pt>
                <c:pt idx="23">
                  <c:v>Maďarsko</c:v>
                </c:pt>
                <c:pt idx="24">
                  <c:v>Slovinsko</c:v>
                </c:pt>
                <c:pt idx="25">
                  <c:v>Polsko</c:v>
                </c:pt>
                <c:pt idx="26">
                  <c:v>Chorvatsko</c:v>
                </c:pt>
                <c:pt idx="27">
                  <c:v>Slovensko</c:v>
                </c:pt>
                <c:pt idx="28">
                  <c:v>Rumunsko</c:v>
                </c:pt>
                <c:pt idx="29">
                  <c:v>Bulharsko</c:v>
                </c:pt>
              </c:strCache>
            </c:strRef>
          </c:cat>
          <c:val>
            <c:numRef>
              <c:f>List1!$B$2:$B$31</c:f>
              <c:numCache>
                <c:formatCode>0.0%</c:formatCode>
                <c:ptCount val="30"/>
                <c:pt idx="0">
                  <c:v>0.99</c:v>
                </c:pt>
                <c:pt idx="1">
                  <c:v>0.93899999999999995</c:v>
                </c:pt>
                <c:pt idx="2">
                  <c:v>0.93</c:v>
                </c:pt>
                <c:pt idx="3">
                  <c:v>0.92400000000000004</c:v>
                </c:pt>
                <c:pt idx="4">
                  <c:v>0.92200000000000004</c:v>
                </c:pt>
                <c:pt idx="5">
                  <c:v>0.91300000000000003</c:v>
                </c:pt>
                <c:pt idx="6">
                  <c:v>0.9</c:v>
                </c:pt>
                <c:pt idx="7">
                  <c:v>0.9</c:v>
                </c:pt>
                <c:pt idx="8">
                  <c:v>0.88500000000000001</c:v>
                </c:pt>
                <c:pt idx="9">
                  <c:v>0.88300000000000001</c:v>
                </c:pt>
                <c:pt idx="10">
                  <c:v>0.88100000000000001</c:v>
                </c:pt>
                <c:pt idx="11">
                  <c:v>0.88</c:v>
                </c:pt>
                <c:pt idx="12">
                  <c:v>0.86</c:v>
                </c:pt>
                <c:pt idx="13">
                  <c:v>0.83799999999999997</c:v>
                </c:pt>
                <c:pt idx="14">
                  <c:v>0.82199999999999995</c:v>
                </c:pt>
                <c:pt idx="15">
                  <c:v>0.79700000000000004</c:v>
                </c:pt>
                <c:pt idx="16">
                  <c:v>0.79100000000000004</c:v>
                </c:pt>
                <c:pt idx="17">
                  <c:v>0.77</c:v>
                </c:pt>
                <c:pt idx="18">
                  <c:v>0.76100000000000001</c:v>
                </c:pt>
                <c:pt idx="19">
                  <c:v>0.73899999999999999</c:v>
                </c:pt>
                <c:pt idx="20">
                  <c:v>0.72699999999999998</c:v>
                </c:pt>
                <c:pt idx="21">
                  <c:v>0.71599999999999997</c:v>
                </c:pt>
                <c:pt idx="22">
                  <c:v>0.70499999999999996</c:v>
                </c:pt>
                <c:pt idx="23">
                  <c:v>0.7</c:v>
                </c:pt>
                <c:pt idx="24">
                  <c:v>0.67600000000000005</c:v>
                </c:pt>
                <c:pt idx="25">
                  <c:v>0.629</c:v>
                </c:pt>
                <c:pt idx="26">
                  <c:v>0.60599999999999998</c:v>
                </c:pt>
                <c:pt idx="27">
                  <c:v>0.55600000000000005</c:v>
                </c:pt>
                <c:pt idx="28">
                  <c:v>0.46500000000000002</c:v>
                </c:pt>
                <c:pt idx="29">
                  <c:v>0.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9289600"/>
        <c:axId val="359286464"/>
      </c:barChart>
      <c:catAx>
        <c:axId val="3592896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6464"/>
        <c:crosses val="autoZero"/>
        <c:auto val="1"/>
        <c:lblAlgn val="ctr"/>
        <c:lblOffset val="100"/>
        <c:noMultiLvlLbl val="0"/>
      </c:catAx>
      <c:valAx>
        <c:axId val="359286464"/>
        <c:scaling>
          <c:orientation val="minMax"/>
          <c:max val="1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96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4.725794487389709E-2"/>
          <c:w val="0.91393290618325784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mrtnost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8C7-4F71-B6A6-584BFB277F2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8C7-4F71-B6A6-584BFB277F2C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8C7-4F71-B6A6-584BFB277F2C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8C7-4F71-B6A6-584BFB277F2C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8C7-4F71-B6A6-584BFB277F2C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8C7-4F71-B6A6-584BFB277F2C}"/>
              </c:ext>
            </c:extLst>
          </c:dPt>
          <c:dPt>
            <c:idx val="1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8C7-4F71-B6A6-584BFB277F2C}"/>
              </c:ext>
            </c:extLst>
          </c:dPt>
          <c:cat>
            <c:strRef>
              <c:f>List1!$A$2:$A$31</c:f>
              <c:strCache>
                <c:ptCount val="30"/>
                <c:pt idx="0">
                  <c:v>Irsko</c:v>
                </c:pt>
                <c:pt idx="1">
                  <c:v>Portugalsko</c:v>
                </c:pt>
                <c:pt idx="2">
                  <c:v>Malta</c:v>
                </c:pt>
                <c:pt idx="3">
                  <c:v>Island</c:v>
                </c:pt>
                <c:pt idx="4">
                  <c:v>Dánsko</c:v>
                </c:pt>
                <c:pt idx="5">
                  <c:v>Norsko</c:v>
                </c:pt>
                <c:pt idx="6">
                  <c:v>Belgie</c:v>
                </c:pt>
                <c:pt idx="7">
                  <c:v>Španělsko</c:v>
                </c:pt>
                <c:pt idx="8">
                  <c:v>Finsko</c:v>
                </c:pt>
                <c:pt idx="9">
                  <c:v>Švédsko</c:v>
                </c:pt>
                <c:pt idx="10">
                  <c:v>Itálie</c:v>
                </c:pt>
                <c:pt idx="11">
                  <c:v>Francie</c:v>
                </c:pt>
                <c:pt idx="12">
                  <c:v>Německo</c:v>
                </c:pt>
                <c:pt idx="13">
                  <c:v>Nizozemsko</c:v>
                </c:pt>
                <c:pt idx="14">
                  <c:v>Kypr</c:v>
                </c:pt>
                <c:pt idx="15">
                  <c:v>Lucembursko</c:v>
                </c:pt>
                <c:pt idx="16">
                  <c:v>Rakousko</c:v>
                </c:pt>
                <c:pt idx="17">
                  <c:v>Litva</c:v>
                </c:pt>
                <c:pt idx="18">
                  <c:v>Lichtenštejnsko</c:v>
                </c:pt>
                <c:pt idx="19">
                  <c:v>Řecko</c:v>
                </c:pt>
                <c:pt idx="20">
                  <c:v>Česká republika</c:v>
                </c:pt>
                <c:pt idx="21">
                  <c:v>Maďarsko</c:v>
                </c:pt>
                <c:pt idx="22">
                  <c:v>Estonsko</c:v>
                </c:pt>
                <c:pt idx="23">
                  <c:v>Lotyšsko</c:v>
                </c:pt>
                <c:pt idx="24">
                  <c:v>Slovinsko</c:v>
                </c:pt>
                <c:pt idx="25">
                  <c:v>Polsko</c:v>
                </c:pt>
                <c:pt idx="26">
                  <c:v>Chorvatsko</c:v>
                </c:pt>
                <c:pt idx="27">
                  <c:v>Slovensko</c:v>
                </c:pt>
                <c:pt idx="28">
                  <c:v>Rumunsko</c:v>
                </c:pt>
                <c:pt idx="29">
                  <c:v>Bulharsko</c:v>
                </c:pt>
              </c:strCache>
            </c:strRef>
          </c:cat>
          <c:val>
            <c:numRef>
              <c:f>List1!$B$2:$B$31</c:f>
              <c:numCache>
                <c:formatCode>0.0%</c:formatCode>
                <c:ptCount val="30"/>
                <c:pt idx="0">
                  <c:v>0.92500000000000004</c:v>
                </c:pt>
                <c:pt idx="1">
                  <c:v>0.91900000000000004</c:v>
                </c:pt>
                <c:pt idx="2">
                  <c:v>0.91800000000000004</c:v>
                </c:pt>
                <c:pt idx="3">
                  <c:v>0.91400000000000003</c:v>
                </c:pt>
                <c:pt idx="4">
                  <c:v>0.88500000000000001</c:v>
                </c:pt>
                <c:pt idx="5">
                  <c:v>0.88</c:v>
                </c:pt>
                <c:pt idx="6">
                  <c:v>0.86799999999999999</c:v>
                </c:pt>
                <c:pt idx="7">
                  <c:v>0.84199999999999997</c:v>
                </c:pt>
                <c:pt idx="8">
                  <c:v>0.83299999999999996</c:v>
                </c:pt>
                <c:pt idx="9">
                  <c:v>0.82799999999999996</c:v>
                </c:pt>
                <c:pt idx="10">
                  <c:v>0.82</c:v>
                </c:pt>
                <c:pt idx="11">
                  <c:v>0.81200000000000006</c:v>
                </c:pt>
                <c:pt idx="12">
                  <c:v>0.80800000000000005</c:v>
                </c:pt>
                <c:pt idx="13">
                  <c:v>0.80300000000000005</c:v>
                </c:pt>
                <c:pt idx="14">
                  <c:v>0.80100000000000005</c:v>
                </c:pt>
                <c:pt idx="15">
                  <c:v>0.76100000000000001</c:v>
                </c:pt>
                <c:pt idx="16">
                  <c:v>0.74299999999999999</c:v>
                </c:pt>
                <c:pt idx="17">
                  <c:v>0.72199999999999998</c:v>
                </c:pt>
                <c:pt idx="18">
                  <c:v>0.71399999999999997</c:v>
                </c:pt>
                <c:pt idx="19">
                  <c:v>0.71099999999999997</c:v>
                </c:pt>
                <c:pt idx="20">
                  <c:v>0.68200000000000005</c:v>
                </c:pt>
                <c:pt idx="21">
                  <c:v>0.67600000000000005</c:v>
                </c:pt>
                <c:pt idx="22">
                  <c:v>0.66900000000000004</c:v>
                </c:pt>
                <c:pt idx="23">
                  <c:v>0.66</c:v>
                </c:pt>
                <c:pt idx="24">
                  <c:v>0.63900000000000001</c:v>
                </c:pt>
                <c:pt idx="25">
                  <c:v>0.62</c:v>
                </c:pt>
                <c:pt idx="26">
                  <c:v>0.55100000000000005</c:v>
                </c:pt>
                <c:pt idx="27">
                  <c:v>0.54</c:v>
                </c:pt>
                <c:pt idx="28">
                  <c:v>0.42799999999999999</c:v>
                </c:pt>
                <c:pt idx="29">
                  <c:v>0.283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9293128"/>
        <c:axId val="359286856"/>
      </c:barChart>
      <c:catAx>
        <c:axId val="3592931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6856"/>
        <c:crosses val="autoZero"/>
        <c:auto val="1"/>
        <c:lblAlgn val="ctr"/>
        <c:lblOffset val="100"/>
        <c:noMultiLvlLbl val="0"/>
      </c:catAx>
      <c:valAx>
        <c:axId val="359286856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931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147262593113503E-2"/>
          <c:y val="4.8800639884654412E-2"/>
          <c:w val="0.86121607542845235"/>
          <c:h val="0.82460070750847803"/>
        </c:manualLayout>
      </c:layout>
      <c:scatterChart>
        <c:scatterStyle val="lineMarker"/>
        <c:varyColors val="0"/>
        <c:ser>
          <c:idx val="0"/>
          <c:order val="0"/>
          <c:tx>
            <c:strRef>
              <c:f>List1!$C$3</c:f>
              <c:strCache>
                <c:ptCount val="1"/>
                <c:pt idx="0">
                  <c:v>B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0070C0"/>
              </a:solidFill>
              <a:ln w="9525">
                <a:solidFill>
                  <a:srgbClr val="0070C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1649603554792684E-2"/>
                  <c:y val="4.666372721928277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3</c:f>
              <c:numCache>
                <c:formatCode>0.0%</c:formatCode>
                <c:ptCount val="1"/>
                <c:pt idx="0">
                  <c:v>0.88</c:v>
                </c:pt>
              </c:numCache>
            </c:numRef>
          </c:xVal>
          <c:yVal>
            <c:numRef>
              <c:f>List1!$A$3</c:f>
              <c:numCache>
                <c:formatCode>0.0%</c:formatCode>
                <c:ptCount val="1"/>
                <c:pt idx="0">
                  <c:v>0.8679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45A2-44FB-8F7B-9BC1EF59F5D8}"/>
            </c:ext>
          </c:extLst>
        </c:ser>
        <c:ser>
          <c:idx val="1"/>
          <c:order val="1"/>
          <c:tx>
            <c:strRef>
              <c:f>List1!$C$2</c:f>
              <c:strCache>
                <c:ptCount val="1"/>
                <c:pt idx="0">
                  <c:v>A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0070C0"/>
              </a:solidFill>
              <a:ln w="9525">
                <a:solidFill>
                  <a:srgbClr val="0070C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8395341767169662E-3"/>
                  <c:y val="4.666372721928277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670-40CC-87AC-1F8CD69998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</c:f>
              <c:numCache>
                <c:formatCode>0.0%</c:formatCode>
                <c:ptCount val="1"/>
                <c:pt idx="0">
                  <c:v>0.79700000000000004</c:v>
                </c:pt>
              </c:numCache>
            </c:numRef>
          </c:xVal>
          <c:yVal>
            <c:numRef>
              <c:f>List1!$A$2</c:f>
              <c:numCache>
                <c:formatCode>0.0%</c:formatCode>
                <c:ptCount val="1"/>
                <c:pt idx="0">
                  <c:v>0.7429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45A2-44FB-8F7B-9BC1EF59F5D8}"/>
            </c:ext>
          </c:extLst>
        </c:ser>
        <c:ser>
          <c:idx val="2"/>
          <c:order val="2"/>
          <c:tx>
            <c:strRef>
              <c:f>List1!$C$4</c:f>
              <c:strCache>
                <c:ptCount val="1"/>
                <c:pt idx="0">
                  <c:v>BG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1347606396832839E-2"/>
                  <c:y val="2.333186360964096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2D7-4442-BA00-D1571E62952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4</c:f>
              <c:numCache>
                <c:formatCode>0.0%</c:formatCode>
                <c:ptCount val="1"/>
                <c:pt idx="0">
                  <c:v>0.31</c:v>
                </c:pt>
              </c:numCache>
            </c:numRef>
          </c:xVal>
          <c:yVal>
            <c:numRef>
              <c:f>List1!$A$4</c:f>
              <c:numCache>
                <c:formatCode>0.0%</c:formatCode>
                <c:ptCount val="1"/>
                <c:pt idx="0">
                  <c:v>0.2839999999999999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9149-402E-9150-02BFAEF7D23C}"/>
            </c:ext>
          </c:extLst>
        </c:ser>
        <c:ser>
          <c:idx val="3"/>
          <c:order val="3"/>
          <c:tx>
            <c:strRef>
              <c:f>List1!$C$5</c:f>
              <c:strCache>
                <c:ptCount val="1"/>
                <c:pt idx="0">
                  <c:v>HR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2945952349223933E-2"/>
                  <c:y val="4.6663727219282778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5</c:f>
              <c:numCache>
                <c:formatCode>0.0%</c:formatCode>
                <c:ptCount val="1"/>
                <c:pt idx="0">
                  <c:v>0.60599999999999998</c:v>
                </c:pt>
              </c:numCache>
            </c:numRef>
          </c:xVal>
          <c:yVal>
            <c:numRef>
              <c:f>List1!$A$5</c:f>
              <c:numCache>
                <c:formatCode>0.0%</c:formatCode>
                <c:ptCount val="1"/>
                <c:pt idx="0">
                  <c:v>0.5510000000000000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9149-402E-9150-02BFAEF7D23C}"/>
            </c:ext>
          </c:extLst>
        </c:ser>
        <c:ser>
          <c:idx val="4"/>
          <c:order val="4"/>
          <c:tx>
            <c:strRef>
              <c:f>List1!$C$6</c:f>
              <c:strCache>
                <c:ptCount val="1"/>
                <c:pt idx="0">
                  <c:v>CY</c:v>
                </c:pt>
              </c:strCache>
            </c:strRef>
          </c:tx>
          <c:spPr>
            <a:ln w="2540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tx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8341782560988816E-2"/>
                  <c:y val="-4.6663727219283203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6</c:f>
              <c:numCache>
                <c:formatCode>0.0%</c:formatCode>
                <c:ptCount val="1"/>
                <c:pt idx="0">
                  <c:v>0.82199999999999995</c:v>
                </c:pt>
              </c:numCache>
            </c:numRef>
          </c:xVal>
          <c:yVal>
            <c:numRef>
              <c:f>List1!$A$6</c:f>
              <c:numCache>
                <c:formatCode>0.0%</c:formatCode>
                <c:ptCount val="1"/>
                <c:pt idx="0">
                  <c:v>0.8010000000000000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9149-402E-9150-02BFAEF7D23C}"/>
            </c:ext>
          </c:extLst>
        </c:ser>
        <c:ser>
          <c:idx val="5"/>
          <c:order val="5"/>
          <c:tx>
            <c:strRef>
              <c:f>List1!$C$7</c:f>
              <c:strCache>
                <c:ptCount val="1"/>
                <c:pt idx="0">
                  <c:v>CZ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4698377898256978E-2"/>
                  <c:y val="-2.3331863609641429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7</c:f>
              <c:numCache>
                <c:formatCode>0.0%</c:formatCode>
                <c:ptCount val="1"/>
                <c:pt idx="0">
                  <c:v>0.70499999999999996</c:v>
                </c:pt>
              </c:numCache>
            </c:numRef>
          </c:xVal>
          <c:yVal>
            <c:numRef>
              <c:f>List1!$A$7</c:f>
              <c:numCache>
                <c:formatCode>0.0%</c:formatCode>
                <c:ptCount val="1"/>
                <c:pt idx="0">
                  <c:v>0.6820000000000000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9149-402E-9150-02BFAEF7D23C}"/>
            </c:ext>
          </c:extLst>
        </c:ser>
        <c:ser>
          <c:idx val="6"/>
          <c:order val="6"/>
          <c:tx>
            <c:strRef>
              <c:f>List1!$C$8</c:f>
              <c:strCache>
                <c:ptCount val="1"/>
                <c:pt idx="0">
                  <c:v>DK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60000"/>
                </a:schemeClr>
              </a:solidFill>
              <a:ln w="9525">
                <a:solidFill>
                  <a:schemeClr val="accent1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9945375240029266E-2"/>
                  <c:y val="-4.666372721928277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38A-4224-89D1-2C7D3FE02E2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8</c:f>
              <c:numCache>
                <c:formatCode>0.0%</c:formatCode>
                <c:ptCount val="1"/>
                <c:pt idx="0">
                  <c:v>0.9</c:v>
                </c:pt>
              </c:numCache>
            </c:numRef>
          </c:xVal>
          <c:yVal>
            <c:numRef>
              <c:f>List1!$A$8</c:f>
              <c:numCache>
                <c:formatCode>0.0%</c:formatCode>
                <c:ptCount val="1"/>
                <c:pt idx="0">
                  <c:v>0.885000000000000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9149-402E-9150-02BFAEF7D23C}"/>
            </c:ext>
          </c:extLst>
        </c:ser>
        <c:ser>
          <c:idx val="7"/>
          <c:order val="7"/>
          <c:tx>
            <c:strRef>
              <c:f>List1!$C$9</c:f>
              <c:strCache>
                <c:ptCount val="1"/>
                <c:pt idx="0">
                  <c:v>E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60000"/>
                </a:schemeClr>
              </a:solidFill>
              <a:ln w="9525">
                <a:solidFill>
                  <a:schemeClr val="accent2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1124250017857893E-2"/>
                  <c:y val="-1.1665931804820694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9</c:f>
              <c:numCache>
                <c:formatCode>0.0%</c:formatCode>
                <c:ptCount val="1"/>
                <c:pt idx="0">
                  <c:v>0.71599999999999997</c:v>
                </c:pt>
              </c:numCache>
            </c:numRef>
          </c:xVal>
          <c:yVal>
            <c:numRef>
              <c:f>List1!$A$9</c:f>
              <c:numCache>
                <c:formatCode>0.0%</c:formatCode>
                <c:ptCount val="1"/>
                <c:pt idx="0">
                  <c:v>0.669000000000000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9149-402E-9150-02BFAEF7D23C}"/>
            </c:ext>
          </c:extLst>
        </c:ser>
        <c:ser>
          <c:idx val="8"/>
          <c:order val="8"/>
          <c:tx>
            <c:strRef>
              <c:f>List1!$C$10</c:f>
              <c:strCache>
                <c:ptCount val="1"/>
                <c:pt idx="0">
                  <c:v>FI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60000"/>
                </a:schemeClr>
              </a:solidFill>
              <a:ln w="9525">
                <a:solidFill>
                  <a:schemeClr val="accent3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139274326297051E-2"/>
                  <c:y val="-1.1665931804820694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38A-4224-89D1-2C7D3FE02E2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0</c:f>
              <c:numCache>
                <c:formatCode>0.0%</c:formatCode>
                <c:ptCount val="1"/>
                <c:pt idx="0">
                  <c:v>0.88500000000000001</c:v>
                </c:pt>
              </c:numCache>
            </c:numRef>
          </c:xVal>
          <c:yVal>
            <c:numRef>
              <c:f>List1!$A$10</c:f>
              <c:numCache>
                <c:formatCode>0.0%</c:formatCode>
                <c:ptCount val="1"/>
                <c:pt idx="0">
                  <c:v>0.8329999999999999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9149-402E-9150-02BFAEF7D23C}"/>
            </c:ext>
          </c:extLst>
        </c:ser>
        <c:ser>
          <c:idx val="9"/>
          <c:order val="9"/>
          <c:tx>
            <c:strRef>
              <c:f>List1!$C$11</c:f>
              <c:strCache>
                <c:ptCount val="1"/>
                <c:pt idx="0">
                  <c:v>FR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60000"/>
                </a:schemeClr>
              </a:solidFill>
              <a:ln w="9525">
                <a:solidFill>
                  <a:schemeClr val="accent4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8.051377057258783E-3"/>
                  <c:y val="4.666372721928277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1</c:f>
              <c:numCache>
                <c:formatCode>0.0%</c:formatCode>
                <c:ptCount val="1"/>
                <c:pt idx="0">
                  <c:v>0.9</c:v>
                </c:pt>
              </c:numCache>
            </c:numRef>
          </c:xVal>
          <c:yVal>
            <c:numRef>
              <c:f>List1!$A$11</c:f>
              <c:numCache>
                <c:formatCode>0.0%</c:formatCode>
                <c:ptCount val="1"/>
                <c:pt idx="0">
                  <c:v>0.8120000000000000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7-9149-402E-9150-02BFAEF7D23C}"/>
            </c:ext>
          </c:extLst>
        </c:ser>
        <c:ser>
          <c:idx val="10"/>
          <c:order val="10"/>
          <c:tx>
            <c:strRef>
              <c:f>List1!$C$12</c:f>
              <c:strCache>
                <c:ptCount val="1"/>
                <c:pt idx="0">
                  <c:v>D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60000"/>
                </a:schemeClr>
              </a:solidFill>
              <a:ln w="9525">
                <a:solidFill>
                  <a:schemeClr val="accent5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0779589409237246E-2"/>
                  <c:y val="5.331422692533761E-3"/>
                </c:manualLayout>
              </c:layout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2</c:f>
              <c:numCache>
                <c:formatCode>0.0%</c:formatCode>
                <c:ptCount val="1"/>
                <c:pt idx="0">
                  <c:v>0.83799999999999997</c:v>
                </c:pt>
              </c:numCache>
            </c:numRef>
          </c:xVal>
          <c:yVal>
            <c:numRef>
              <c:f>List1!$A$12</c:f>
              <c:numCache>
                <c:formatCode>0.0%</c:formatCode>
                <c:ptCount val="1"/>
                <c:pt idx="0">
                  <c:v>0.8080000000000000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8-9149-402E-9150-02BFAEF7D23C}"/>
            </c:ext>
          </c:extLst>
        </c:ser>
        <c:ser>
          <c:idx val="11"/>
          <c:order val="11"/>
          <c:tx>
            <c:strRef>
              <c:f>List1!$C$13</c:f>
              <c:strCache>
                <c:ptCount val="1"/>
                <c:pt idx="0">
                  <c:v>EL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60000"/>
                </a:schemeClr>
              </a:solidFill>
              <a:ln w="9525">
                <a:solidFill>
                  <a:schemeClr val="accent6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3195552404790586E-2"/>
                  <c:y val="-9.3327454438565556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B66-49F0-87A3-3B9192B845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3</c:f>
              <c:numCache>
                <c:formatCode>0.0%</c:formatCode>
                <c:ptCount val="1"/>
                <c:pt idx="0">
                  <c:v>0.73899999999999999</c:v>
                </c:pt>
              </c:numCache>
            </c:numRef>
          </c:xVal>
          <c:yVal>
            <c:numRef>
              <c:f>List1!$A$13</c:f>
              <c:numCache>
                <c:formatCode>0.0%</c:formatCode>
                <c:ptCount val="1"/>
                <c:pt idx="0">
                  <c:v>0.7109999999999999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9-9149-402E-9150-02BFAEF7D23C}"/>
            </c:ext>
          </c:extLst>
        </c:ser>
        <c:ser>
          <c:idx val="12"/>
          <c:order val="12"/>
          <c:tx>
            <c:strRef>
              <c:f>List1!$C$14</c:f>
              <c:strCache>
                <c:ptCount val="1"/>
                <c:pt idx="0">
                  <c:v>HU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80000"/>
                  <a:lumOff val="20000"/>
                </a:schemeClr>
              </a:solidFill>
              <a:ln w="9525">
                <a:solidFill>
                  <a:schemeClr val="accent1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6704644670040747E-2"/>
                  <c:y val="1.6332304526748928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4</c:f>
              <c:numCache>
                <c:formatCode>0.0%</c:formatCode>
                <c:ptCount val="1"/>
                <c:pt idx="0">
                  <c:v>0.7</c:v>
                </c:pt>
              </c:numCache>
            </c:numRef>
          </c:xVal>
          <c:yVal>
            <c:numRef>
              <c:f>List1!$A$14</c:f>
              <c:numCache>
                <c:formatCode>0.0%</c:formatCode>
                <c:ptCount val="1"/>
                <c:pt idx="0">
                  <c:v>0.6760000000000000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A-9149-402E-9150-02BFAEF7D23C}"/>
            </c:ext>
          </c:extLst>
        </c:ser>
        <c:ser>
          <c:idx val="13"/>
          <c:order val="13"/>
          <c:tx>
            <c:strRef>
              <c:f>List1!$C$15</c:f>
              <c:strCache>
                <c:ptCount val="1"/>
                <c:pt idx="0">
                  <c:v>IS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80000"/>
                  <a:lumOff val="20000"/>
                </a:schemeClr>
              </a:solidFill>
              <a:ln w="9525">
                <a:solidFill>
                  <a:schemeClr val="accent2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7.0101599896128242E-2"/>
                  <c:y val="-6.9995590828924375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5</c:f>
              <c:numCache>
                <c:formatCode>0.0%</c:formatCode>
                <c:ptCount val="1"/>
                <c:pt idx="0">
                  <c:v>0.92400000000000004</c:v>
                </c:pt>
              </c:numCache>
            </c:numRef>
          </c:xVal>
          <c:yVal>
            <c:numRef>
              <c:f>List1!$A$15</c:f>
              <c:numCache>
                <c:formatCode>0.0%</c:formatCode>
                <c:ptCount val="1"/>
                <c:pt idx="0">
                  <c:v>0.9140000000000000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B-9149-402E-9150-02BFAEF7D23C}"/>
            </c:ext>
          </c:extLst>
        </c:ser>
        <c:ser>
          <c:idx val="14"/>
          <c:order val="14"/>
          <c:tx>
            <c:strRef>
              <c:f>List1!$C$16</c:f>
              <c:strCache>
                <c:ptCount val="1"/>
                <c:pt idx="0">
                  <c:v>I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80000"/>
                  <a:lumOff val="20000"/>
                </a:schemeClr>
              </a:solidFill>
              <a:ln w="9525">
                <a:solidFill>
                  <a:schemeClr val="accent3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1584699489494617E-2"/>
                  <c:y val="-2.7998236331569663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6</c:f>
              <c:numCache>
                <c:formatCode>0.0%</c:formatCode>
                <c:ptCount val="1"/>
                <c:pt idx="0">
                  <c:v>0.93899999999999995</c:v>
                </c:pt>
              </c:numCache>
            </c:numRef>
          </c:xVal>
          <c:yVal>
            <c:numRef>
              <c:f>List1!$A$16</c:f>
              <c:numCache>
                <c:formatCode>0.0%</c:formatCode>
                <c:ptCount val="1"/>
                <c:pt idx="0">
                  <c:v>0.925000000000000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C-9149-402E-9150-02BFAEF7D23C}"/>
            </c:ext>
          </c:extLst>
        </c:ser>
        <c:ser>
          <c:idx val="15"/>
          <c:order val="15"/>
          <c:tx>
            <c:strRef>
              <c:f>List1!$C$17</c:f>
              <c:strCache>
                <c:ptCount val="1"/>
                <c:pt idx="0">
                  <c:v>I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80000"/>
                  <a:lumOff val="20000"/>
                </a:schemeClr>
              </a:solidFill>
              <a:ln w="9525">
                <a:solidFill>
                  <a:schemeClr val="accent4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2005289356393671E-2"/>
                  <c:y val="4.8332047325102878E-2"/>
                </c:manualLayout>
              </c:layout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"/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7</c:f>
              <c:numCache>
                <c:formatCode>0.0%</c:formatCode>
                <c:ptCount val="1"/>
                <c:pt idx="0">
                  <c:v>0.88100000000000001</c:v>
                </c:pt>
              </c:numCache>
            </c:numRef>
          </c:xVal>
          <c:yVal>
            <c:numRef>
              <c:f>List1!$A$17</c:f>
              <c:numCache>
                <c:formatCode>0.0%</c:formatCode>
                <c:ptCount val="1"/>
                <c:pt idx="0">
                  <c:v>0.8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D-9149-402E-9150-02BFAEF7D23C}"/>
            </c:ext>
          </c:extLst>
        </c:ser>
        <c:ser>
          <c:idx val="16"/>
          <c:order val="16"/>
          <c:tx>
            <c:strRef>
              <c:f>List1!$C$18</c:f>
              <c:strCache>
                <c:ptCount val="1"/>
                <c:pt idx="0">
                  <c:v>LV</c:v>
                </c:pt>
              </c:strCache>
            </c:strRef>
          </c:tx>
          <c:spPr>
            <a:ln w="2540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80000"/>
                  <a:lumOff val="20000"/>
                </a:schemeClr>
              </a:solidFill>
              <a:ln w="9525">
                <a:solidFill>
                  <a:schemeClr val="tx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6253773343027682E-2"/>
                  <c:y val="1.6332304526748928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670-40CC-87AC-1F8CD69998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8</c:f>
              <c:numCache>
                <c:formatCode>0.0%</c:formatCode>
                <c:ptCount val="1"/>
                <c:pt idx="0">
                  <c:v>0.72699999999999998</c:v>
                </c:pt>
              </c:numCache>
            </c:numRef>
          </c:xVal>
          <c:yVal>
            <c:numRef>
              <c:f>List1!$A$18</c:f>
              <c:numCache>
                <c:formatCode>0.0%</c:formatCode>
                <c:ptCount val="1"/>
                <c:pt idx="0">
                  <c:v>0.6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E-9149-402E-9150-02BFAEF7D23C}"/>
            </c:ext>
          </c:extLst>
        </c:ser>
        <c:ser>
          <c:idx val="28"/>
          <c:order val="17"/>
          <c:tx>
            <c:strRef>
              <c:f>List1!$C$19</c:f>
              <c:strCache>
                <c:ptCount val="1"/>
                <c:pt idx="0">
                  <c:v>LI</c:v>
                </c:pt>
              </c:strCache>
            </c:strRef>
          </c:tx>
          <c:spPr>
            <a:ln w="25400" cap="rnd">
              <a:solidFill>
                <a:schemeClr val="accent1">
                  <a:lumMod val="7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75000"/>
                </a:schemeClr>
              </a:solidFill>
              <a:ln w="9525">
                <a:solidFill>
                  <a:schemeClr val="accent1">
                    <a:lumMod val="75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6.3975323352821563E-3"/>
                  <c:y val="9.3327454438565556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9</c:f>
              <c:numCache>
                <c:formatCode>0.0%</c:formatCode>
                <c:ptCount val="1"/>
                <c:pt idx="0">
                  <c:v>0.77</c:v>
                </c:pt>
              </c:numCache>
            </c:numRef>
          </c:xVal>
          <c:yVal>
            <c:numRef>
              <c:f>List1!$A$19</c:f>
              <c:numCache>
                <c:formatCode>0.0%</c:formatCode>
                <c:ptCount val="1"/>
                <c:pt idx="0">
                  <c:v>0.7139999999999999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970D-44E3-9271-C9D0012D0ABC}"/>
            </c:ext>
          </c:extLst>
        </c:ser>
        <c:ser>
          <c:idx val="17"/>
          <c:order val="18"/>
          <c:tx>
            <c:strRef>
              <c:f>List1!$C$20</c:f>
              <c:strCache>
                <c:ptCount val="1"/>
                <c:pt idx="0">
                  <c:v>L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80000"/>
                  <a:lumOff val="20000"/>
                </a:schemeClr>
              </a:solidFill>
              <a:ln w="9525">
                <a:solidFill>
                  <a:schemeClr val="accent6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6419444593899813E-2"/>
                  <c:y val="-2.0998677248677291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0</c:f>
              <c:numCache>
                <c:formatCode>0.0%</c:formatCode>
                <c:ptCount val="1"/>
                <c:pt idx="0">
                  <c:v>0.76100000000000001</c:v>
                </c:pt>
              </c:numCache>
            </c:numRef>
          </c:xVal>
          <c:yVal>
            <c:numRef>
              <c:f>List1!$A$20</c:f>
              <c:numCache>
                <c:formatCode>0.0%</c:formatCode>
                <c:ptCount val="1"/>
                <c:pt idx="0">
                  <c:v>0.721999999999999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F-9149-402E-9150-02BFAEF7D23C}"/>
            </c:ext>
          </c:extLst>
        </c:ser>
        <c:ser>
          <c:idx val="18"/>
          <c:order val="19"/>
          <c:tx>
            <c:strRef>
              <c:f>List1!$C$21</c:f>
              <c:strCache>
                <c:ptCount val="1"/>
                <c:pt idx="0">
                  <c:v>LU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80000"/>
                </a:schemeClr>
              </a:solidFill>
              <a:ln w="9525">
                <a:solidFill>
                  <a:schemeClr val="accent1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4782306702951744E-2"/>
                  <c:y val="-1.3999118165784832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1</c:f>
              <c:numCache>
                <c:formatCode>0.0%</c:formatCode>
                <c:ptCount val="1"/>
                <c:pt idx="0">
                  <c:v>0.79100000000000004</c:v>
                </c:pt>
              </c:numCache>
            </c:numRef>
          </c:xVal>
          <c:yVal>
            <c:numRef>
              <c:f>List1!$A$21</c:f>
              <c:numCache>
                <c:formatCode>0.0%</c:formatCode>
                <c:ptCount val="1"/>
                <c:pt idx="0">
                  <c:v>0.761000000000000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0-9149-402E-9150-02BFAEF7D23C}"/>
            </c:ext>
          </c:extLst>
        </c:ser>
        <c:ser>
          <c:idx val="19"/>
          <c:order val="20"/>
          <c:tx>
            <c:strRef>
              <c:f>List1!$C$22</c:f>
              <c:strCache>
                <c:ptCount val="1"/>
                <c:pt idx="0">
                  <c:v>M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80000"/>
                </a:schemeClr>
              </a:solidFill>
              <a:ln w="9525">
                <a:solidFill>
                  <a:schemeClr val="accent2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5.972442147993319E-2"/>
                  <c:y val="-2.63299162257495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2</c:f>
              <c:numCache>
                <c:formatCode>0.0%</c:formatCode>
                <c:ptCount val="1"/>
                <c:pt idx="0">
                  <c:v>0.93</c:v>
                </c:pt>
              </c:numCache>
            </c:numRef>
          </c:xVal>
          <c:yVal>
            <c:numRef>
              <c:f>List1!$A$22</c:f>
              <c:numCache>
                <c:formatCode>0.0%</c:formatCode>
                <c:ptCount val="1"/>
                <c:pt idx="0">
                  <c:v>0.918000000000000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1-9149-402E-9150-02BFAEF7D23C}"/>
            </c:ext>
          </c:extLst>
        </c:ser>
        <c:ser>
          <c:idx val="20"/>
          <c:order val="21"/>
          <c:tx>
            <c:strRef>
              <c:f>List1!$C$23</c:f>
              <c:strCache>
                <c:ptCount val="1"/>
                <c:pt idx="0">
                  <c:v>NL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80000"/>
                </a:schemeClr>
              </a:solidFill>
              <a:ln w="9525">
                <a:solidFill>
                  <a:schemeClr val="accent3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6549697362991165E-3"/>
                  <c:y val="4.6663727219282775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670-40CC-87AC-1F8CD69998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3</c:f>
              <c:numCache>
                <c:formatCode>0.0%</c:formatCode>
                <c:ptCount val="1"/>
                <c:pt idx="0">
                  <c:v>0.88300000000000001</c:v>
                </c:pt>
              </c:numCache>
            </c:numRef>
          </c:xVal>
          <c:yVal>
            <c:numRef>
              <c:f>List1!$A$23</c:f>
              <c:numCache>
                <c:formatCode>0.0%</c:formatCode>
                <c:ptCount val="1"/>
                <c:pt idx="0">
                  <c:v>0.8030000000000000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2-9149-402E-9150-02BFAEF7D23C}"/>
            </c:ext>
          </c:extLst>
        </c:ser>
        <c:ser>
          <c:idx val="21"/>
          <c:order val="22"/>
          <c:tx>
            <c:strRef>
              <c:f>List1!$C$24</c:f>
              <c:strCache>
                <c:ptCount val="1"/>
                <c:pt idx="0">
                  <c:v>NO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80000"/>
                </a:schemeClr>
              </a:solidFill>
              <a:ln w="9525">
                <a:solidFill>
                  <a:schemeClr val="accent4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5710409316044701E-3"/>
                  <c:y val="4.666372721928277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4</c:f>
              <c:numCache>
                <c:formatCode>0.0%</c:formatCode>
                <c:ptCount val="1"/>
                <c:pt idx="0">
                  <c:v>0.92200000000000004</c:v>
                </c:pt>
              </c:numCache>
            </c:numRef>
          </c:xVal>
          <c:yVal>
            <c:numRef>
              <c:f>List1!$A$24</c:f>
              <c:numCache>
                <c:formatCode>0.0%</c:formatCode>
                <c:ptCount val="1"/>
                <c:pt idx="0">
                  <c:v>0.8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3-9149-402E-9150-02BFAEF7D23C}"/>
            </c:ext>
          </c:extLst>
        </c:ser>
        <c:ser>
          <c:idx val="22"/>
          <c:order val="23"/>
          <c:tx>
            <c:strRef>
              <c:f>List1!$C$25</c:f>
              <c:strCache>
                <c:ptCount val="1"/>
                <c:pt idx="0">
                  <c:v>PL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80000"/>
                </a:schemeClr>
              </a:solidFill>
              <a:ln w="25400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-3.94923175544988E-2"/>
                  <c:y val="-4.6663727219283203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5</c:f>
              <c:numCache>
                <c:formatCode>0.0%</c:formatCode>
                <c:ptCount val="1"/>
                <c:pt idx="0">
                  <c:v>0.629</c:v>
                </c:pt>
              </c:numCache>
            </c:numRef>
          </c:xVal>
          <c:yVal>
            <c:numRef>
              <c:f>List1!$A$25</c:f>
              <c:numCache>
                <c:formatCode>0.0%</c:formatCode>
                <c:ptCount val="1"/>
                <c:pt idx="0">
                  <c:v>0.6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4-9149-402E-9150-02BFAEF7D23C}"/>
            </c:ext>
          </c:extLst>
        </c:ser>
        <c:ser>
          <c:idx val="23"/>
          <c:order val="24"/>
          <c:tx>
            <c:strRef>
              <c:f>List1!$C$26</c:f>
              <c:strCache>
                <c:ptCount val="1"/>
                <c:pt idx="0">
                  <c:v>P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80000"/>
                </a:schemeClr>
              </a:solidFill>
              <a:ln w="9525">
                <a:solidFill>
                  <a:schemeClr val="accent6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9593084740072622E-2"/>
                  <c:y val="2.3331863609641389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38A-4224-89D1-2C7D3FE02E2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6</c:f>
              <c:numCache>
                <c:formatCode>0.0%</c:formatCode>
                <c:ptCount val="1"/>
                <c:pt idx="0">
                  <c:v>0.99</c:v>
                </c:pt>
              </c:numCache>
            </c:numRef>
          </c:xVal>
          <c:yVal>
            <c:numRef>
              <c:f>List1!$A$26</c:f>
              <c:numCache>
                <c:formatCode>0.0%</c:formatCode>
                <c:ptCount val="1"/>
                <c:pt idx="0">
                  <c:v>0.919000000000000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5-9149-402E-9150-02BFAEF7D23C}"/>
            </c:ext>
          </c:extLst>
        </c:ser>
        <c:ser>
          <c:idx val="24"/>
          <c:order val="25"/>
          <c:tx>
            <c:strRef>
              <c:f>List1!$C$27</c:f>
              <c:strCache>
                <c:ptCount val="1"/>
                <c:pt idx="0">
                  <c:v>RO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60000"/>
                  <a:lumOff val="40000"/>
                </a:schemeClr>
              </a:solidFill>
              <a:ln w="9525"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315465958222639E-2"/>
                  <c:y val="-1.633230452674897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B66-49F0-87A3-3B9192B845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7</c:f>
              <c:numCache>
                <c:formatCode>0.0%</c:formatCode>
                <c:ptCount val="1"/>
                <c:pt idx="0">
                  <c:v>0.46500000000000002</c:v>
                </c:pt>
              </c:numCache>
            </c:numRef>
          </c:xVal>
          <c:yVal>
            <c:numRef>
              <c:f>List1!$A$27</c:f>
              <c:numCache>
                <c:formatCode>0.0%</c:formatCode>
                <c:ptCount val="1"/>
                <c:pt idx="0">
                  <c:v>0.4279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6-9149-402E-9150-02BFAEF7D23C}"/>
            </c:ext>
          </c:extLst>
        </c:ser>
        <c:ser>
          <c:idx val="25"/>
          <c:order val="26"/>
          <c:tx>
            <c:strRef>
              <c:f>List1!$C$28</c:f>
              <c:strCache>
                <c:ptCount val="1"/>
                <c:pt idx="0">
                  <c:v>SK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60000"/>
                  <a:lumOff val="40000"/>
                </a:schemeClr>
              </a:solidFill>
              <a:ln w="9525">
                <a:solidFill>
                  <a:schemeClr val="accent2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9676881994916709E-2"/>
                  <c:y val="-1.633230452674897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8</c:f>
              <c:numCache>
                <c:formatCode>0.0%</c:formatCode>
                <c:ptCount val="1"/>
                <c:pt idx="0">
                  <c:v>0.55600000000000005</c:v>
                </c:pt>
              </c:numCache>
            </c:numRef>
          </c:xVal>
          <c:yVal>
            <c:numRef>
              <c:f>List1!$A$28</c:f>
              <c:numCache>
                <c:formatCode>0.0%</c:formatCode>
                <c:ptCount val="1"/>
                <c:pt idx="0">
                  <c:v>0.5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7-9149-402E-9150-02BFAEF7D23C}"/>
            </c:ext>
          </c:extLst>
        </c:ser>
        <c:ser>
          <c:idx val="26"/>
          <c:order val="27"/>
          <c:tx>
            <c:strRef>
              <c:f>List1!$C$29</c:f>
              <c:strCache>
                <c:ptCount val="1"/>
                <c:pt idx="0">
                  <c:v>SI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60000"/>
                  <a:lumOff val="40000"/>
                </a:schemeClr>
              </a:solidFill>
              <a:ln w="9525">
                <a:solidFill>
                  <a:schemeClr val="accent3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3245935997577379E-2"/>
                  <c:y val="-2.3331863609641389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9</c:f>
              <c:numCache>
                <c:formatCode>0.0%</c:formatCode>
                <c:ptCount val="1"/>
                <c:pt idx="0">
                  <c:v>0.67600000000000005</c:v>
                </c:pt>
              </c:numCache>
            </c:numRef>
          </c:xVal>
          <c:yVal>
            <c:numRef>
              <c:f>List1!$A$29</c:f>
              <c:numCache>
                <c:formatCode>0.0%</c:formatCode>
                <c:ptCount val="1"/>
                <c:pt idx="0">
                  <c:v>0.639000000000000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8-9149-402E-9150-02BFAEF7D23C}"/>
            </c:ext>
          </c:extLst>
        </c:ser>
        <c:ser>
          <c:idx val="27"/>
          <c:order val="28"/>
          <c:tx>
            <c:strRef>
              <c:f>List1!$C$30</c:f>
              <c:strCache>
                <c:ptCount val="1"/>
                <c:pt idx="0">
                  <c:v>ES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60000"/>
                  <a:lumOff val="40000"/>
                </a:schemeClr>
              </a:solidFill>
              <a:ln w="9525">
                <a:solidFill>
                  <a:schemeClr val="accent4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8.2863250904636667E-3"/>
                  <c:y val="-4.666372721928277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30</c:f>
              <c:numCache>
                <c:formatCode>0.0%</c:formatCode>
                <c:ptCount val="1"/>
                <c:pt idx="0">
                  <c:v>0.91300000000000003</c:v>
                </c:pt>
              </c:numCache>
            </c:numRef>
          </c:xVal>
          <c:yVal>
            <c:numRef>
              <c:f>List1!$A$30</c:f>
              <c:numCache>
                <c:formatCode>0.0%</c:formatCode>
                <c:ptCount val="1"/>
                <c:pt idx="0">
                  <c:v>0.8419999999999999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9-9149-402E-9150-02BFAEF7D23C}"/>
            </c:ext>
          </c:extLst>
        </c:ser>
        <c:ser>
          <c:idx val="30"/>
          <c:order val="29"/>
          <c:tx>
            <c:strRef>
              <c:f>List1!$C$31</c:f>
              <c:strCache>
                <c:ptCount val="1"/>
                <c:pt idx="0">
                  <c:v>S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50000"/>
                </a:schemeClr>
              </a:solidFill>
              <a:ln w="9525">
                <a:solidFill>
                  <a:schemeClr val="accent1">
                    <a:lumMod val="5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1347565097772453E-2"/>
                  <c:y val="-4.6663727219282986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2D7-4442-BA00-D1571E62952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31</c:f>
              <c:numCache>
                <c:formatCode>0.0%</c:formatCode>
                <c:ptCount val="1"/>
                <c:pt idx="0">
                  <c:v>0.86</c:v>
                </c:pt>
              </c:numCache>
            </c:numRef>
          </c:xVal>
          <c:yVal>
            <c:numRef>
              <c:f>List1!$A$31</c:f>
              <c:numCache>
                <c:formatCode>0.0%</c:formatCode>
                <c:ptCount val="1"/>
                <c:pt idx="0">
                  <c:v>0.8279999999999999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2-8DBA-474B-976E-F746759762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59293520"/>
        <c:axId val="359288424"/>
      </c:scatterChart>
      <c:valAx>
        <c:axId val="359293520"/>
        <c:scaling>
          <c:orientation val="minMax"/>
          <c:max val="1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8424"/>
        <c:crosses val="autoZero"/>
        <c:crossBetween val="midCat"/>
      </c:valAx>
      <c:valAx>
        <c:axId val="3592884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9352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5833828720105065E-2"/>
          <c:y val="0.17197402263374487"/>
          <c:w val="0.87881422312393831"/>
          <c:h val="0.67139752351557902"/>
        </c:manualLayout>
      </c:layout>
      <c:lineChart>
        <c:grouping val="standard"/>
        <c:varyColors val="0"/>
        <c:ser>
          <c:idx val="9"/>
          <c:order val="0"/>
          <c:tx>
            <c:strRef>
              <c:f>List1!$I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46</c:f>
              <c:strCache>
                <c:ptCount val="45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</c:strCache>
            </c:strRef>
          </c:cat>
          <c:val>
            <c:numRef>
              <c:f>List1!$I$2:$I$46</c:f>
              <c:numCache>
                <c:formatCode>General</c:formatCode>
                <c:ptCount val="45"/>
                <c:pt idx="0">
                  <c:v>207.38662991519158</c:v>
                </c:pt>
                <c:pt idx="1">
                  <c:v>252.5767111827009</c:v>
                </c:pt>
                <c:pt idx="2">
                  <c:v>256.95078472962325</c:v>
                </c:pt>
                <c:pt idx="3">
                  <c:v>281.38137408396136</c:v>
                </c:pt>
                <c:pt idx="4">
                  <c:v>280.97347436827613</c:v>
                </c:pt>
                <c:pt idx="5">
                  <c:v>245.68580960282719</c:v>
                </c:pt>
                <c:pt idx="6">
                  <c:v>248.15056533164849</c:v>
                </c:pt>
                <c:pt idx="7">
                  <c:v>283.06504525083233</c:v>
                </c:pt>
                <c:pt idx="8">
                  <c:v>292.10826873474718</c:v>
                </c:pt>
                <c:pt idx="9">
                  <c:v>332.02168985041362</c:v>
                </c:pt>
                <c:pt idx="10">
                  <c:v>444.08128833823395</c:v>
                </c:pt>
                <c:pt idx="11">
                  <c:v>554.60475385421842</c:v>
                </c:pt>
                <c:pt idx="12">
                  <c:v>559.8033055498662</c:v>
                </c:pt>
                <c:pt idx="13">
                  <c:v>474.30926088571522</c:v>
                </c:pt>
                <c:pt idx="14">
                  <c:v>426.0729498265992</c:v>
                </c:pt>
                <c:pt idx="15">
                  <c:v>428.25998660006042</c:v>
                </c:pt>
                <c:pt idx="16">
                  <c:v>396.72152773197342</c:v>
                </c:pt>
                <c:pt idx="17">
                  <c:v>366.71920183572229</c:v>
                </c:pt>
                <c:pt idx="18">
                  <c:v>313.70959623135377</c:v>
                </c:pt>
                <c:pt idx="19">
                  <c:v>279.57620087412045</c:v>
                </c:pt>
                <c:pt idx="20">
                  <c:v>256.29988092799789</c:v>
                </c:pt>
                <c:pt idx="21">
                  <c:v>185.29929424670468</c:v>
                </c:pt>
                <c:pt idx="22">
                  <c:v>124.98220862942225</c:v>
                </c:pt>
                <c:pt idx="23">
                  <c:v>72.120141220088797</c:v>
                </c:pt>
                <c:pt idx="24">
                  <c:v>47.594085974845605</c:v>
                </c:pt>
                <c:pt idx="25">
                  <c:v>56.81088380586057</c:v>
                </c:pt>
                <c:pt idx="26">
                  <c:v>100.68180003540915</c:v>
                </c:pt>
                <c:pt idx="27">
                  <c:v>147.9894883375396</c:v>
                </c:pt>
                <c:pt idx="28">
                  <c:v>172.97551560259808</c:v>
                </c:pt>
                <c:pt idx="29">
                  <c:v>188.09384123501621</c:v>
                </c:pt>
                <c:pt idx="30">
                  <c:v>204.09739603764481</c:v>
                </c:pt>
                <c:pt idx="31">
                  <c:v>222.01894737572943</c:v>
                </c:pt>
                <c:pt idx="32">
                  <c:v>235.81810797018687</c:v>
                </c:pt>
                <c:pt idx="33">
                  <c:v>242.43996931205544</c:v>
                </c:pt>
                <c:pt idx="34">
                  <c:v>241.82378037985009</c:v>
                </c:pt>
                <c:pt idx="35">
                  <c:v>238.65604854527339</c:v>
                </c:pt>
                <c:pt idx="36">
                  <c:v>244.84397401939171</c:v>
                </c:pt>
                <c:pt idx="37">
                  <c:v>243.80252793679117</c:v>
                </c:pt>
                <c:pt idx="38">
                  <c:v>233.6744647835007</c:v>
                </c:pt>
                <c:pt idx="39">
                  <c:v>244.76586556319668</c:v>
                </c:pt>
                <c:pt idx="40">
                  <c:v>327.35253991342114</c:v>
                </c:pt>
                <c:pt idx="41">
                  <c:v>544.46801198357298</c:v>
                </c:pt>
                <c:pt idx="42">
                  <c:v>818.38568914223026</c:v>
                </c:pt>
                <c:pt idx="43">
                  <c:v>943.36789777165245</c:v>
                </c:pt>
                <c:pt idx="44">
                  <c:v>1077.10693221227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46</c:f>
              <c:strCache>
                <c:ptCount val="45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</c:strCache>
            </c:strRef>
          </c:cat>
          <c:val>
            <c:numRef>
              <c:f>List1!$C$2:$C$46</c:f>
              <c:numCache>
                <c:formatCode>General</c:formatCode>
                <c:ptCount val="45"/>
                <c:pt idx="0">
                  <c:v>1509.0417104492553</c:v>
                </c:pt>
                <c:pt idx="1">
                  <c:v>1359.1250146461466</c:v>
                </c:pt>
                <c:pt idx="2">
                  <c:v>978.27376797268062</c:v>
                </c:pt>
                <c:pt idx="3">
                  <c:v>893.66509384427945</c:v>
                </c:pt>
                <c:pt idx="4">
                  <c:v>911.48827387176971</c:v>
                </c:pt>
                <c:pt idx="5">
                  <c:v>968.73565484149481</c:v>
                </c:pt>
                <c:pt idx="6">
                  <c:v>1120.5506221795356</c:v>
                </c:pt>
                <c:pt idx="7">
                  <c:v>1395.7812925620765</c:v>
                </c:pt>
                <c:pt idx="8">
                  <c:v>1573.7699644630479</c:v>
                </c:pt>
                <c:pt idx="9">
                  <c:v>1519.8422209066275</c:v>
                </c:pt>
                <c:pt idx="10">
                  <c:v>1329.369842113369</c:v>
                </c:pt>
                <c:pt idx="11">
                  <c:v>1070.1108356799118</c:v>
                </c:pt>
                <c:pt idx="12">
                  <c:v>808.71978042889521</c:v>
                </c:pt>
                <c:pt idx="13">
                  <c:v>602.34119532568866</c:v>
                </c:pt>
                <c:pt idx="14">
                  <c:v>457.33382245774919</c:v>
                </c:pt>
                <c:pt idx="15">
                  <c:v>364.73931635480625</c:v>
                </c:pt>
                <c:pt idx="16">
                  <c:v>298.131492988692</c:v>
                </c:pt>
                <c:pt idx="17">
                  <c:v>236.01219344901816</c:v>
                </c:pt>
                <c:pt idx="18">
                  <c:v>172.71465640490374</c:v>
                </c:pt>
                <c:pt idx="19">
                  <c:v>118.05752772668706</c:v>
                </c:pt>
                <c:pt idx="20">
                  <c:v>76.557384514723708</c:v>
                </c:pt>
                <c:pt idx="21">
                  <c:v>51.795694738860959</c:v>
                </c:pt>
                <c:pt idx="22">
                  <c:v>35.169454398421387</c:v>
                </c:pt>
                <c:pt idx="23">
                  <c:v>21.965713475642605</c:v>
                </c:pt>
                <c:pt idx="24">
                  <c:v>15.204874462066783</c:v>
                </c:pt>
                <c:pt idx="25">
                  <c:v>15.915557401253178</c:v>
                </c:pt>
                <c:pt idx="26">
                  <c:v>22.143384210439205</c:v>
                </c:pt>
                <c:pt idx="27">
                  <c:v>27.744687902184591</c:v>
                </c:pt>
                <c:pt idx="28">
                  <c:v>27.585719349998161</c:v>
                </c:pt>
                <c:pt idx="29">
                  <c:v>23.555398997506906</c:v>
                </c:pt>
                <c:pt idx="30">
                  <c:v>22.199490758269707</c:v>
                </c:pt>
                <c:pt idx="31">
                  <c:v>23.115897706167953</c:v>
                </c:pt>
                <c:pt idx="32">
                  <c:v>24.079060110591616</c:v>
                </c:pt>
                <c:pt idx="33">
                  <c:v>24.425050488879727</c:v>
                </c:pt>
                <c:pt idx="34">
                  <c:v>28.64239266747267</c:v>
                </c:pt>
                <c:pt idx="35">
                  <c:v>40.705300451031185</c:v>
                </c:pt>
                <c:pt idx="36">
                  <c:v>52.871070238945634</c:v>
                </c:pt>
                <c:pt idx="37">
                  <c:v>58.87447085680963</c:v>
                </c:pt>
                <c:pt idx="38">
                  <c:v>72.349393427435857</c:v>
                </c:pt>
                <c:pt idx="39">
                  <c:v>97.746957412044338</c:v>
                </c:pt>
                <c:pt idx="40">
                  <c:v>145.73675798973605</c:v>
                </c:pt>
                <c:pt idx="41">
                  <c:v>291.239738696845</c:v>
                </c:pt>
                <c:pt idx="42">
                  <c:v>522.29585375416866</c:v>
                </c:pt>
                <c:pt idx="43">
                  <c:v>820.23097382545393</c:v>
                </c:pt>
                <c:pt idx="44">
                  <c:v>1217.41857700890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46</c:f>
              <c:strCache>
                <c:ptCount val="45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</c:strCache>
            </c:strRef>
          </c:cat>
          <c:val>
            <c:numRef>
              <c:f>List1!$D$2:$D$46</c:f>
              <c:numCache>
                <c:formatCode>General</c:formatCode>
                <c:ptCount val="45"/>
                <c:pt idx="0">
                  <c:v>317.12613637484463</c:v>
                </c:pt>
                <c:pt idx="1">
                  <c:v>362.97566246668015</c:v>
                </c:pt>
                <c:pt idx="2">
                  <c:v>376.20942868038333</c:v>
                </c:pt>
                <c:pt idx="3">
                  <c:v>396.43663650752393</c:v>
                </c:pt>
                <c:pt idx="4">
                  <c:v>395.01655787913694</c:v>
                </c:pt>
                <c:pt idx="5">
                  <c:v>365.74154782866412</c:v>
                </c:pt>
                <c:pt idx="6">
                  <c:v>349.0719637619701</c:v>
                </c:pt>
                <c:pt idx="7">
                  <c:v>372.95929056436773</c:v>
                </c:pt>
                <c:pt idx="8">
                  <c:v>382.60423882181249</c:v>
                </c:pt>
                <c:pt idx="9">
                  <c:v>403.56079665579205</c:v>
                </c:pt>
                <c:pt idx="10">
                  <c:v>490.68915643407922</c:v>
                </c:pt>
                <c:pt idx="11">
                  <c:v>611.57409239447475</c:v>
                </c:pt>
                <c:pt idx="12">
                  <c:v>699.38278272903938</c:v>
                </c:pt>
                <c:pt idx="13">
                  <c:v>669.25661676427183</c:v>
                </c:pt>
                <c:pt idx="14">
                  <c:v>610.40653820837406</c:v>
                </c:pt>
                <c:pt idx="15">
                  <c:v>576.07509756059005</c:v>
                </c:pt>
                <c:pt idx="16">
                  <c:v>488.57834918414403</c:v>
                </c:pt>
                <c:pt idx="17">
                  <c:v>380.09533421580232</c:v>
                </c:pt>
                <c:pt idx="18">
                  <c:v>287.59266013050228</c:v>
                </c:pt>
                <c:pt idx="19">
                  <c:v>251.36282985188282</c:v>
                </c:pt>
                <c:pt idx="20">
                  <c:v>220.51474106975533</c:v>
                </c:pt>
                <c:pt idx="21">
                  <c:v>166.35121907511407</c:v>
                </c:pt>
                <c:pt idx="22">
                  <c:v>115.78097135041872</c:v>
                </c:pt>
                <c:pt idx="23">
                  <c:v>68.722298811400137</c:v>
                </c:pt>
                <c:pt idx="24">
                  <c:v>44.292787177034612</c:v>
                </c:pt>
                <c:pt idx="25">
                  <c:v>42.040863326998242</c:v>
                </c:pt>
                <c:pt idx="26">
                  <c:v>61.03812857641455</c:v>
                </c:pt>
                <c:pt idx="27">
                  <c:v>113.08638700743325</c:v>
                </c:pt>
                <c:pt idx="28">
                  <c:v>256.63910525777283</c:v>
                </c:pt>
                <c:pt idx="29">
                  <c:v>407.94729476209642</c:v>
                </c:pt>
                <c:pt idx="30">
                  <c:v>461.21509770556889</c:v>
                </c:pt>
                <c:pt idx="31">
                  <c:v>481.07094605875898</c:v>
                </c:pt>
                <c:pt idx="32">
                  <c:v>468.31251997171256</c:v>
                </c:pt>
                <c:pt idx="33">
                  <c:v>407.52988671337596</c:v>
                </c:pt>
                <c:pt idx="34">
                  <c:v>327.14392954413574</c:v>
                </c:pt>
                <c:pt idx="35">
                  <c:v>246.32273907142545</c:v>
                </c:pt>
                <c:pt idx="36">
                  <c:v>180.59656849585866</c:v>
                </c:pt>
                <c:pt idx="37">
                  <c:v>134.72178995979453</c:v>
                </c:pt>
                <c:pt idx="38">
                  <c:v>108.57808299367311</c:v>
                </c:pt>
                <c:pt idx="39">
                  <c:v>93.043373479372079</c:v>
                </c:pt>
                <c:pt idx="40">
                  <c:v>91.963460129123774</c:v>
                </c:pt>
                <c:pt idx="41">
                  <c:v>101.99165136368546</c:v>
                </c:pt>
                <c:pt idx="42">
                  <c:v>112.2307747794511</c:v>
                </c:pt>
                <c:pt idx="43">
                  <c:v>131.18050601620175</c:v>
                </c:pt>
                <c:pt idx="44">
                  <c:v>172.434087258424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46</c:f>
              <c:strCache>
                <c:ptCount val="45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</c:strCache>
            </c:strRef>
          </c:cat>
          <c:val>
            <c:numRef>
              <c:f>List1!$F$2:$F$46</c:f>
              <c:numCache>
                <c:formatCode>General</c:formatCode>
                <c:ptCount val="45"/>
                <c:pt idx="0">
                  <c:v>399.53731536677952</c:v>
                </c:pt>
                <c:pt idx="1">
                  <c:v>362.30987395887905</c:v>
                </c:pt>
                <c:pt idx="2">
                  <c:v>300.19371750081086</c:v>
                </c:pt>
                <c:pt idx="3">
                  <c:v>281.08956637701596</c:v>
                </c:pt>
                <c:pt idx="4">
                  <c:v>278.23584817333864</c:v>
                </c:pt>
                <c:pt idx="5">
                  <c:v>279.35084382871196</c:v>
                </c:pt>
                <c:pt idx="6">
                  <c:v>290.20402710274436</c:v>
                </c:pt>
                <c:pt idx="7">
                  <c:v>354.25004822146622</c:v>
                </c:pt>
                <c:pt idx="8">
                  <c:v>442.80082348046045</c:v>
                </c:pt>
                <c:pt idx="9">
                  <c:v>500.68167313330616</c:v>
                </c:pt>
                <c:pt idx="10">
                  <c:v>511.97582461389965</c:v>
                </c:pt>
                <c:pt idx="11">
                  <c:v>492.59166706236442</c:v>
                </c:pt>
                <c:pt idx="12">
                  <c:v>462.58067873826354</c:v>
                </c:pt>
                <c:pt idx="13">
                  <c:v>389.28438539293319</c:v>
                </c:pt>
                <c:pt idx="14">
                  <c:v>332.89075550898394</c:v>
                </c:pt>
                <c:pt idx="15">
                  <c:v>317.02093012836968</c:v>
                </c:pt>
                <c:pt idx="16">
                  <c:v>283.71860876442253</c:v>
                </c:pt>
                <c:pt idx="17">
                  <c:v>237.5091647612816</c:v>
                </c:pt>
                <c:pt idx="18">
                  <c:v>181.20439919272303</c:v>
                </c:pt>
                <c:pt idx="19">
                  <c:v>125.38084227543082</c:v>
                </c:pt>
                <c:pt idx="20">
                  <c:v>88.564188740562614</c:v>
                </c:pt>
                <c:pt idx="21">
                  <c:v>64.835739846061514</c:v>
                </c:pt>
                <c:pt idx="22">
                  <c:v>46.658795635682331</c:v>
                </c:pt>
                <c:pt idx="23">
                  <c:v>31.803364798678398</c:v>
                </c:pt>
                <c:pt idx="24">
                  <c:v>21.243601433954833</c:v>
                </c:pt>
                <c:pt idx="25">
                  <c:v>18.267485210965898</c:v>
                </c:pt>
                <c:pt idx="26">
                  <c:v>24.184507267826717</c:v>
                </c:pt>
                <c:pt idx="27">
                  <c:v>46.340225448432811</c:v>
                </c:pt>
                <c:pt idx="28">
                  <c:v>83.975101358973475</c:v>
                </c:pt>
                <c:pt idx="29">
                  <c:v>116.69058290430313</c:v>
                </c:pt>
                <c:pt idx="30">
                  <c:v>135.57676495261151</c:v>
                </c:pt>
                <c:pt idx="31">
                  <c:v>143.55610980061397</c:v>
                </c:pt>
                <c:pt idx="32">
                  <c:v>148.21226459004509</c:v>
                </c:pt>
                <c:pt idx="33">
                  <c:v>153.0847117697667</c:v>
                </c:pt>
                <c:pt idx="34">
                  <c:v>144.1530097304078</c:v>
                </c:pt>
                <c:pt idx="35">
                  <c:v>122.31250836665913</c:v>
                </c:pt>
                <c:pt idx="36">
                  <c:v>103.72477628324766</c:v>
                </c:pt>
                <c:pt idx="37">
                  <c:v>87.999145829493727</c:v>
                </c:pt>
                <c:pt idx="38">
                  <c:v>74.56722072393633</c:v>
                </c:pt>
                <c:pt idx="39">
                  <c:v>64.969874661745521</c:v>
                </c:pt>
                <c:pt idx="40">
                  <c:v>59.894548573301861</c:v>
                </c:pt>
                <c:pt idx="41">
                  <c:v>72.293635598092379</c:v>
                </c:pt>
                <c:pt idx="42">
                  <c:v>95.403387655250995</c:v>
                </c:pt>
                <c:pt idx="43">
                  <c:v>94.476180741835279</c:v>
                </c:pt>
                <c:pt idx="44">
                  <c:v>104.425630695196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K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6</c:f>
              <c:strCache>
                <c:ptCount val="45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</c:strCache>
            </c:strRef>
          </c:cat>
          <c:val>
            <c:numRef>
              <c:f>List1!$K$2:$K$46</c:f>
              <c:numCache>
                <c:formatCode>General</c:formatCode>
                <c:ptCount val="45"/>
                <c:pt idx="0">
                  <c:v>276.21606206892739</c:v>
                </c:pt>
                <c:pt idx="1">
                  <c:v>244.14695247241269</c:v>
                </c:pt>
                <c:pt idx="2">
                  <c:v>171.55387067908924</c:v>
                </c:pt>
                <c:pt idx="3">
                  <c:v>163.80528594734278</c:v>
                </c:pt>
                <c:pt idx="4">
                  <c:v>176.40569255867683</c:v>
                </c:pt>
                <c:pt idx="5">
                  <c:v>205.91582437059895</c:v>
                </c:pt>
                <c:pt idx="6">
                  <c:v>285.44885391573757</c:v>
                </c:pt>
                <c:pt idx="7">
                  <c:v>451.28085026847765</c:v>
                </c:pt>
                <c:pt idx="8">
                  <c:v>646.56156296630968</c:v>
                </c:pt>
                <c:pt idx="9">
                  <c:v>934.26231733248892</c:v>
                </c:pt>
                <c:pt idx="10">
                  <c:v>1145.6236464287008</c:v>
                </c:pt>
                <c:pt idx="11">
                  <c:v>1196.7622584759997</c:v>
                </c:pt>
                <c:pt idx="12">
                  <c:v>1118.0992813776227</c:v>
                </c:pt>
                <c:pt idx="13">
                  <c:v>861.53616869436655</c:v>
                </c:pt>
                <c:pt idx="14">
                  <c:v>648.58827337170703</c:v>
                </c:pt>
                <c:pt idx="15">
                  <c:v>473.25735148255916</c:v>
                </c:pt>
                <c:pt idx="16">
                  <c:v>317.30300937834653</c:v>
                </c:pt>
                <c:pt idx="17">
                  <c:v>214.86201070553477</c:v>
                </c:pt>
                <c:pt idx="18">
                  <c:v>148.13410599449759</c:v>
                </c:pt>
                <c:pt idx="19">
                  <c:v>102.05203404955367</c:v>
                </c:pt>
                <c:pt idx="20">
                  <c:v>61.057209940379906</c:v>
                </c:pt>
                <c:pt idx="21">
                  <c:v>38.313015390920711</c:v>
                </c:pt>
                <c:pt idx="22">
                  <c:v>25.661429223894796</c:v>
                </c:pt>
                <c:pt idx="23">
                  <c:v>15.77353906422891</c:v>
                </c:pt>
                <c:pt idx="24">
                  <c:v>10.205203404955368</c:v>
                </c:pt>
                <c:pt idx="25">
                  <c:v>6.4690958394501434</c:v>
                </c:pt>
                <c:pt idx="26">
                  <c:v>5.0872478357701283</c:v>
                </c:pt>
                <c:pt idx="27">
                  <c:v>6.1620185052990291</c:v>
                </c:pt>
                <c:pt idx="28">
                  <c:v>7.4005637530418573</c:v>
                </c:pt>
                <c:pt idx="29">
                  <c:v>8.0044825102057153</c:v>
                </c:pt>
                <c:pt idx="30">
                  <c:v>7.6666974426394896</c:v>
                </c:pt>
                <c:pt idx="31">
                  <c:v>8.7824117567218707</c:v>
                </c:pt>
                <c:pt idx="32">
                  <c:v>11.361861363591233</c:v>
                </c:pt>
                <c:pt idx="33">
                  <c:v>17.636474891412337</c:v>
                </c:pt>
                <c:pt idx="34">
                  <c:v>26.275583892197023</c:v>
                </c:pt>
                <c:pt idx="35">
                  <c:v>34.576907825415482</c:v>
                </c:pt>
                <c:pt idx="36">
                  <c:v>46.501744301617094</c:v>
                </c:pt>
                <c:pt idx="37">
                  <c:v>57.884077487485065</c:v>
                </c:pt>
                <c:pt idx="38">
                  <c:v>68.017629514471835</c:v>
                </c:pt>
                <c:pt idx="39">
                  <c:v>83.903763601222821</c:v>
                </c:pt>
                <c:pt idx="40">
                  <c:v>117.84604493605933</c:v>
                </c:pt>
                <c:pt idx="41">
                  <c:v>215.51710901839047</c:v>
                </c:pt>
                <c:pt idx="42">
                  <c:v>391.42124193128711</c:v>
                </c:pt>
                <c:pt idx="43">
                  <c:v>608.88317406596798</c:v>
                </c:pt>
                <c:pt idx="44">
                  <c:v>882.489078794610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46</c:f>
              <c:strCache>
                <c:ptCount val="45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</c:strCache>
            </c:strRef>
          </c:cat>
          <c:val>
            <c:numRef>
              <c:f>List1!$E$2:$E$46</c:f>
              <c:numCache>
                <c:formatCode>General</c:formatCode>
                <c:ptCount val="45"/>
                <c:pt idx="0">
                  <c:v>312.23911211301839</c:v>
                </c:pt>
                <c:pt idx="1">
                  <c:v>317.82187466809887</c:v>
                </c:pt>
                <c:pt idx="2">
                  <c:v>257.79545376033929</c:v>
                </c:pt>
                <c:pt idx="3">
                  <c:v>208.78666224999569</c:v>
                </c:pt>
                <c:pt idx="4">
                  <c:v>171.55541957166011</c:v>
                </c:pt>
                <c:pt idx="5">
                  <c:v>138.70573768391537</c:v>
                </c:pt>
                <c:pt idx="6">
                  <c:v>124.07969337635583</c:v>
                </c:pt>
                <c:pt idx="7">
                  <c:v>130.74582208739744</c:v>
                </c:pt>
                <c:pt idx="8">
                  <c:v>137.93980622848002</c:v>
                </c:pt>
                <c:pt idx="9">
                  <c:v>155.93017739994551</c:v>
                </c:pt>
                <c:pt idx="10">
                  <c:v>197.06322160557727</c:v>
                </c:pt>
                <c:pt idx="11">
                  <c:v>251.12211062428571</c:v>
                </c:pt>
                <c:pt idx="12">
                  <c:v>272.18462444667318</c:v>
                </c:pt>
                <c:pt idx="13">
                  <c:v>274.5846231673151</c:v>
                </c:pt>
                <c:pt idx="14">
                  <c:v>313.01947241847762</c:v>
                </c:pt>
                <c:pt idx="15">
                  <c:v>344.87115884623597</c:v>
                </c:pt>
                <c:pt idx="16">
                  <c:v>324.1092460660131</c:v>
                </c:pt>
                <c:pt idx="17">
                  <c:v>271.47761079550207</c:v>
                </c:pt>
                <c:pt idx="18">
                  <c:v>206.57303617549576</c:v>
                </c:pt>
                <c:pt idx="19">
                  <c:v>148.51254608349245</c:v>
                </c:pt>
                <c:pt idx="20">
                  <c:v>99.278904993609757</c:v>
                </c:pt>
                <c:pt idx="21">
                  <c:v>60.775518704833722</c:v>
                </c:pt>
                <c:pt idx="22">
                  <c:v>41.728234269117607</c:v>
                </c:pt>
                <c:pt idx="23">
                  <c:v>25.607601579915794</c:v>
                </c:pt>
                <c:pt idx="24">
                  <c:v>14.529851974066883</c:v>
                </c:pt>
                <c:pt idx="25">
                  <c:v>9.9955858540564382</c:v>
                </c:pt>
                <c:pt idx="26">
                  <c:v>10.900996193056137</c:v>
                </c:pt>
                <c:pt idx="27">
                  <c:v>17.632054729205294</c:v>
                </c:pt>
                <c:pt idx="28">
                  <c:v>26.116218543258249</c:v>
                </c:pt>
                <c:pt idx="29">
                  <c:v>33.811605222671361</c:v>
                </c:pt>
                <c:pt idx="30">
                  <c:v>43.160297633989636</c:v>
                </c:pt>
                <c:pt idx="31">
                  <c:v>63.069705858633753</c:v>
                </c:pt>
                <c:pt idx="32">
                  <c:v>98.187122008468037</c:v>
                </c:pt>
                <c:pt idx="33">
                  <c:v>139.38990565588196</c:v>
                </c:pt>
                <c:pt idx="34">
                  <c:v>169.52215412245891</c:v>
                </c:pt>
                <c:pt idx="35">
                  <c:v>175.92736112890168</c:v>
                </c:pt>
                <c:pt idx="36">
                  <c:v>160.00752993586582</c:v>
                </c:pt>
                <c:pt idx="37">
                  <c:v>138.28730103322229</c:v>
                </c:pt>
                <c:pt idx="38">
                  <c:v>132.28850663578604</c:v>
                </c:pt>
                <c:pt idx="39">
                  <c:v>137.47447581520927</c:v>
                </c:pt>
                <c:pt idx="40">
                  <c:v>147.98469065345148</c:v>
                </c:pt>
                <c:pt idx="41">
                  <c:v>195.34979566523916</c:v>
                </c:pt>
                <c:pt idx="42">
                  <c:v>281.26638313254927</c:v>
                </c:pt>
                <c:pt idx="43">
                  <c:v>373.5220453770259</c:v>
                </c:pt>
                <c:pt idx="44">
                  <c:v>525.192104807415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46</c:f>
              <c:strCache>
                <c:ptCount val="45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</c:strCache>
            </c:strRef>
          </c:cat>
          <c:val>
            <c:numRef>
              <c:f>List1!$G$2:$G$46</c:f>
              <c:numCache>
                <c:formatCode>General</c:formatCode>
                <c:ptCount val="45"/>
                <c:pt idx="0">
                  <c:v>631.87972369515933</c:v>
                </c:pt>
                <c:pt idx="1">
                  <c:v>526.74739201330908</c:v>
                </c:pt>
                <c:pt idx="2">
                  <c:v>438.92935177395367</c:v>
                </c:pt>
                <c:pt idx="3">
                  <c:v>380.49505431109486</c:v>
                </c:pt>
                <c:pt idx="4">
                  <c:v>327.65601891359427</c:v>
                </c:pt>
                <c:pt idx="5">
                  <c:v>292.2116996700002</c:v>
                </c:pt>
                <c:pt idx="6">
                  <c:v>292.29786900365559</c:v>
                </c:pt>
                <c:pt idx="7">
                  <c:v>340.82269309614173</c:v>
                </c:pt>
                <c:pt idx="8">
                  <c:v>363.62309878136455</c:v>
                </c:pt>
                <c:pt idx="9">
                  <c:v>392.58748413407142</c:v>
                </c:pt>
                <c:pt idx="10">
                  <c:v>467.79607854851781</c:v>
                </c:pt>
                <c:pt idx="11">
                  <c:v>547.83590026991101</c:v>
                </c:pt>
                <c:pt idx="12">
                  <c:v>578.59260776265057</c:v>
                </c:pt>
                <c:pt idx="13">
                  <c:v>564.357433842776</c:v>
                </c:pt>
                <c:pt idx="14">
                  <c:v>584.01553116069806</c:v>
                </c:pt>
                <c:pt idx="15">
                  <c:v>634.93586272880475</c:v>
                </c:pt>
                <c:pt idx="16">
                  <c:v>596.41242596259042</c:v>
                </c:pt>
                <c:pt idx="17">
                  <c:v>568.34994630214362</c:v>
                </c:pt>
                <c:pt idx="18">
                  <c:v>520.69830479069901</c:v>
                </c:pt>
                <c:pt idx="19">
                  <c:v>380.63292524494352</c:v>
                </c:pt>
                <c:pt idx="20">
                  <c:v>282.70434985668606</c:v>
                </c:pt>
                <c:pt idx="21">
                  <c:v>212.73485092848892</c:v>
                </c:pt>
                <c:pt idx="22">
                  <c:v>148.21125388731406</c:v>
                </c:pt>
                <c:pt idx="23">
                  <c:v>93.022667992142502</c:v>
                </c:pt>
                <c:pt idx="24">
                  <c:v>61.030866717008699</c:v>
                </c:pt>
                <c:pt idx="25">
                  <c:v>58.267703417791729</c:v>
                </c:pt>
                <c:pt idx="26">
                  <c:v>258.06566505348098</c:v>
                </c:pt>
                <c:pt idx="27">
                  <c:v>627.43338607853991</c:v>
                </c:pt>
                <c:pt idx="28">
                  <c:v>661.13708478229466</c:v>
                </c:pt>
                <c:pt idx="29">
                  <c:v>398.52167891180773</c:v>
                </c:pt>
                <c:pt idx="30">
                  <c:v>243.75581104443839</c:v>
                </c:pt>
                <c:pt idx="31">
                  <c:v>196.17310499991814</c:v>
                </c:pt>
                <c:pt idx="32">
                  <c:v>189.75636195371155</c:v>
                </c:pt>
                <c:pt idx="33">
                  <c:v>199.61987834613473</c:v>
                </c:pt>
                <c:pt idx="34">
                  <c:v>203.88238805095594</c:v>
                </c:pt>
                <c:pt idx="35">
                  <c:v>197.48287887148044</c:v>
                </c:pt>
                <c:pt idx="36">
                  <c:v>176.58394314892044</c:v>
                </c:pt>
                <c:pt idx="37">
                  <c:v>147.26913583934819</c:v>
                </c:pt>
                <c:pt idx="38">
                  <c:v>133.02247267498623</c:v>
                </c:pt>
                <c:pt idx="39">
                  <c:v>158.99965446097204</c:v>
                </c:pt>
                <c:pt idx="40">
                  <c:v>227.88916440735463</c:v>
                </c:pt>
                <c:pt idx="41">
                  <c:v>335.35381272014467</c:v>
                </c:pt>
                <c:pt idx="42">
                  <c:v>484.42101532176918</c:v>
                </c:pt>
                <c:pt idx="43">
                  <c:v>680.80092672246042</c:v>
                </c:pt>
                <c:pt idx="44">
                  <c:v>937.229374436488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J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46</c:f>
              <c:strCache>
                <c:ptCount val="45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</c:strCache>
            </c:strRef>
          </c:cat>
          <c:val>
            <c:numRef>
              <c:f>List1!$J$2:$J$46</c:f>
              <c:numCache>
                <c:formatCode>General</c:formatCode>
                <c:ptCount val="45"/>
                <c:pt idx="0">
                  <c:v>341.44193268911135</c:v>
                </c:pt>
                <c:pt idx="1">
                  <c:v>305.06501662436659</c:v>
                </c:pt>
                <c:pt idx="2">
                  <c:v>230.58559932523562</c:v>
                </c:pt>
                <c:pt idx="3">
                  <c:v>202.09368541734054</c:v>
                </c:pt>
                <c:pt idx="4">
                  <c:v>196.41901296633674</c:v>
                </c:pt>
                <c:pt idx="5">
                  <c:v>199.18785268128801</c:v>
                </c:pt>
                <c:pt idx="6">
                  <c:v>237.01900235464657</c:v>
                </c:pt>
                <c:pt idx="7">
                  <c:v>316.86749228847845</c:v>
                </c:pt>
                <c:pt idx="8">
                  <c:v>417.67591445080888</c:v>
                </c:pt>
                <c:pt idx="9">
                  <c:v>544.04143849205673</c:v>
                </c:pt>
                <c:pt idx="10">
                  <c:v>718.26758203998304</c:v>
                </c:pt>
                <c:pt idx="11">
                  <c:v>920.90397057937889</c:v>
                </c:pt>
                <c:pt idx="12">
                  <c:v>986.66588967035204</c:v>
                </c:pt>
                <c:pt idx="13">
                  <c:v>839.4985022711071</c:v>
                </c:pt>
                <c:pt idx="14">
                  <c:v>650.34538838548929</c:v>
                </c:pt>
                <c:pt idx="15">
                  <c:v>462.92576311303782</c:v>
                </c:pt>
                <c:pt idx="16">
                  <c:v>290.95210096975779</c:v>
                </c:pt>
                <c:pt idx="17">
                  <c:v>191.7085606253921</c:v>
                </c:pt>
                <c:pt idx="18">
                  <c:v>131.3842106796703</c:v>
                </c:pt>
                <c:pt idx="19">
                  <c:v>83.083632816762503</c:v>
                </c:pt>
                <c:pt idx="20">
                  <c:v>45.1023177164275</c:v>
                </c:pt>
                <c:pt idx="21">
                  <c:v>24.179268224379182</c:v>
                </c:pt>
                <c:pt idx="22">
                  <c:v>13.688764185429751</c:v>
                </c:pt>
                <c:pt idx="23">
                  <c:v>8.8623946727840028</c:v>
                </c:pt>
                <c:pt idx="24">
                  <c:v>5.4533760323016898</c:v>
                </c:pt>
                <c:pt idx="25">
                  <c:v>3.859514921411582</c:v>
                </c:pt>
                <c:pt idx="26">
                  <c:v>3.106053305354441</c:v>
                </c:pt>
                <c:pt idx="27">
                  <c:v>3.1323981171046906</c:v>
                </c:pt>
                <c:pt idx="28">
                  <c:v>3.6013357662591354</c:v>
                </c:pt>
                <c:pt idx="29">
                  <c:v>4.3047422399908024</c:v>
                </c:pt>
                <c:pt idx="30">
                  <c:v>5.1056245171983941</c:v>
                </c:pt>
                <c:pt idx="31">
                  <c:v>6.1725893930835074</c:v>
                </c:pt>
                <c:pt idx="32">
                  <c:v>6.984009594991198</c:v>
                </c:pt>
                <c:pt idx="33">
                  <c:v>7.8033332404239637</c:v>
                </c:pt>
                <c:pt idx="34">
                  <c:v>10.261304176722261</c:v>
                </c:pt>
                <c:pt idx="35">
                  <c:v>14.579218822588187</c:v>
                </c:pt>
                <c:pt idx="36">
                  <c:v>20.103725846615554</c:v>
                </c:pt>
                <c:pt idx="37">
                  <c:v>25.654577682393167</c:v>
                </c:pt>
                <c:pt idx="38">
                  <c:v>34.917413493780963</c:v>
                </c:pt>
                <c:pt idx="39">
                  <c:v>51.772824051590725</c:v>
                </c:pt>
                <c:pt idx="40">
                  <c:v>77.917415232538531</c:v>
                </c:pt>
                <c:pt idx="41">
                  <c:v>138.51048225811286</c:v>
                </c:pt>
                <c:pt idx="42">
                  <c:v>234.55049349364819</c:v>
                </c:pt>
                <c:pt idx="43">
                  <c:v>357.38581276036246</c:v>
                </c:pt>
                <c:pt idx="44">
                  <c:v>484.396784689491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46</c:f>
              <c:strCache>
                <c:ptCount val="45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</c:strCache>
            </c:strRef>
          </c:cat>
          <c:val>
            <c:numRef>
              <c:f>List1!$B$2:$B$46</c:f>
              <c:numCache>
                <c:formatCode>General</c:formatCode>
                <c:ptCount val="45"/>
                <c:pt idx="0">
                  <c:v>331.7693255547876</c:v>
                </c:pt>
                <c:pt idx="1">
                  <c:v>287.41507756825473</c:v>
                </c:pt>
                <c:pt idx="2">
                  <c:v>237.15142369496499</c:v>
                </c:pt>
                <c:pt idx="3">
                  <c:v>220.99605170797557</c:v>
                </c:pt>
                <c:pt idx="4">
                  <c:v>209.25588221812583</c:v>
                </c:pt>
                <c:pt idx="5">
                  <c:v>208.73909006833341</c:v>
                </c:pt>
                <c:pt idx="6">
                  <c:v>237.06154679934895</c:v>
                </c:pt>
                <c:pt idx="7">
                  <c:v>290.30237283992113</c:v>
                </c:pt>
                <c:pt idx="8">
                  <c:v>343.12751823826903</c:v>
                </c:pt>
                <c:pt idx="9">
                  <c:v>388.38053518096262</c:v>
                </c:pt>
                <c:pt idx="10">
                  <c:v>441.78988040081498</c:v>
                </c:pt>
                <c:pt idx="11">
                  <c:v>487.71697406062913</c:v>
                </c:pt>
                <c:pt idx="12">
                  <c:v>484.26794819136228</c:v>
                </c:pt>
                <c:pt idx="13">
                  <c:v>431.34169128544636</c:v>
                </c:pt>
                <c:pt idx="14">
                  <c:v>386.7739856718253</c:v>
                </c:pt>
                <c:pt idx="15">
                  <c:v>358.0021444627294</c:v>
                </c:pt>
                <c:pt idx="16">
                  <c:v>309.85059763641743</c:v>
                </c:pt>
                <c:pt idx="17">
                  <c:v>242.11712217775315</c:v>
                </c:pt>
                <c:pt idx="18">
                  <c:v>165.71052629213767</c:v>
                </c:pt>
                <c:pt idx="19">
                  <c:v>111.07660836951628</c:v>
                </c:pt>
                <c:pt idx="20">
                  <c:v>82.16995181699626</c:v>
                </c:pt>
                <c:pt idx="21">
                  <c:v>62.71160391611609</c:v>
                </c:pt>
                <c:pt idx="22">
                  <c:v>46.14055128690233</c:v>
                </c:pt>
                <c:pt idx="23">
                  <c:v>30.176167703097068</c:v>
                </c:pt>
                <c:pt idx="24">
                  <c:v>18.885382691327688</c:v>
                </c:pt>
                <c:pt idx="25">
                  <c:v>14.728576269084234</c:v>
                </c:pt>
                <c:pt idx="26">
                  <c:v>19.346001781360069</c:v>
                </c:pt>
                <c:pt idx="27">
                  <c:v>36.871996426494633</c:v>
                </c:pt>
                <c:pt idx="28">
                  <c:v>53.049837637388066</c:v>
                </c:pt>
                <c:pt idx="29">
                  <c:v>64.947291694565948</c:v>
                </c:pt>
                <c:pt idx="30">
                  <c:v>77.70981087204855</c:v>
                </c:pt>
                <c:pt idx="31">
                  <c:v>107.38042103730521</c:v>
                </c:pt>
                <c:pt idx="32">
                  <c:v>156.75654056638624</c:v>
                </c:pt>
                <c:pt idx="33">
                  <c:v>196.5720053243073</c:v>
                </c:pt>
                <c:pt idx="34">
                  <c:v>233.01708649662555</c:v>
                </c:pt>
                <c:pt idx="35">
                  <c:v>284.85358604319663</c:v>
                </c:pt>
                <c:pt idx="36">
                  <c:v>312.16492769853136</c:v>
                </c:pt>
                <c:pt idx="37">
                  <c:v>286.26914714914983</c:v>
                </c:pt>
                <c:pt idx="38">
                  <c:v>273.41675107605113</c:v>
                </c:pt>
                <c:pt idx="39">
                  <c:v>285.0221052224768</c:v>
                </c:pt>
                <c:pt idx="40">
                  <c:v>316.02963421002255</c:v>
                </c:pt>
                <c:pt idx="41">
                  <c:v>440.66641920561403</c:v>
                </c:pt>
                <c:pt idx="42">
                  <c:v>657.4045529837781</c:v>
                </c:pt>
                <c:pt idx="43">
                  <c:v>1026.8098285777971</c:v>
                </c:pt>
                <c:pt idx="44">
                  <c:v>1528.63747525014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6</c:f>
              <c:strCache>
                <c:ptCount val="45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</c:strCache>
            </c:strRef>
          </c:cat>
          <c:val>
            <c:numRef>
              <c:f>List1!$L$2:$L$46</c:f>
              <c:numCache>
                <c:formatCode>General</c:formatCode>
                <c:ptCount val="45"/>
                <c:pt idx="0">
                  <c:v>1578.4170866562854</c:v>
                </c:pt>
                <c:pt idx="1">
                  <c:v>1340.9802683206442</c:v>
                </c:pt>
                <c:pt idx="2">
                  <c:v>1244.4041845605423</c:v>
                </c:pt>
                <c:pt idx="3">
                  <c:v>1277.6588975228995</c:v>
                </c:pt>
                <c:pt idx="4">
                  <c:v>1245.8699570327121</c:v>
                </c:pt>
                <c:pt idx="5">
                  <c:v>1289.3117886766511</c:v>
                </c:pt>
                <c:pt idx="6">
                  <c:v>1289.9347419773235</c:v>
                </c:pt>
                <c:pt idx="7">
                  <c:v>1346.1654384409458</c:v>
                </c:pt>
                <c:pt idx="8">
                  <c:v>1291.4738030731019</c:v>
                </c:pt>
                <c:pt idx="9">
                  <c:v>1132.3458790631441</c:v>
                </c:pt>
                <c:pt idx="10">
                  <c:v>951.2680122824404</c:v>
                </c:pt>
                <c:pt idx="11">
                  <c:v>780.02914322117795</c:v>
                </c:pt>
                <c:pt idx="12">
                  <c:v>621.26766232926275</c:v>
                </c:pt>
                <c:pt idx="13">
                  <c:v>487.29605837292291</c:v>
                </c:pt>
                <c:pt idx="14">
                  <c:v>394.62259381997342</c:v>
                </c:pt>
                <c:pt idx="15">
                  <c:v>331.41115595764137</c:v>
                </c:pt>
                <c:pt idx="16">
                  <c:v>277.98374934704418</c:v>
                </c:pt>
                <c:pt idx="17">
                  <c:v>216.53123845131614</c:v>
                </c:pt>
                <c:pt idx="18">
                  <c:v>159.42107850439172</c:v>
                </c:pt>
                <c:pt idx="19">
                  <c:v>113.34085641054675</c:v>
                </c:pt>
                <c:pt idx="20">
                  <c:v>79.243324276691681</c:v>
                </c:pt>
                <c:pt idx="21">
                  <c:v>60.6829803478388</c:v>
                </c:pt>
                <c:pt idx="22">
                  <c:v>44.632771777577091</c:v>
                </c:pt>
                <c:pt idx="23">
                  <c:v>27.886321283034619</c:v>
                </c:pt>
                <c:pt idx="24">
                  <c:v>16.654839715031844</c:v>
                </c:pt>
                <c:pt idx="25">
                  <c:v>11.304770191611274</c:v>
                </c:pt>
                <c:pt idx="26">
                  <c:v>8.4648360267818621</c:v>
                </c:pt>
                <c:pt idx="27">
                  <c:v>8.2266480000542348</c:v>
                </c:pt>
                <c:pt idx="28">
                  <c:v>9.7657090958327544</c:v>
                </c:pt>
                <c:pt idx="29">
                  <c:v>13.485106743964177</c:v>
                </c:pt>
                <c:pt idx="30">
                  <c:v>15.390610957785205</c:v>
                </c:pt>
                <c:pt idx="31">
                  <c:v>18.120612187201864</c:v>
                </c:pt>
                <c:pt idx="32">
                  <c:v>22.7927619422438</c:v>
                </c:pt>
                <c:pt idx="33">
                  <c:v>27.391623073677238</c:v>
                </c:pt>
                <c:pt idx="34">
                  <c:v>46.336732276474734</c:v>
                </c:pt>
                <c:pt idx="35">
                  <c:v>87.598227368060776</c:v>
                </c:pt>
                <c:pt idx="36">
                  <c:v>146.48563643749131</c:v>
                </c:pt>
                <c:pt idx="37">
                  <c:v>210.42996053590841</c:v>
                </c:pt>
                <c:pt idx="38">
                  <c:v>280.21905236710347</c:v>
                </c:pt>
                <c:pt idx="39">
                  <c:v>360.56170599792262</c:v>
                </c:pt>
                <c:pt idx="40">
                  <c:v>446.93234892054102</c:v>
                </c:pt>
                <c:pt idx="41">
                  <c:v>658.16848431614301</c:v>
                </c:pt>
                <c:pt idx="42">
                  <c:v>1013.5816645055683</c:v>
                </c:pt>
                <c:pt idx="43">
                  <c:v>1382.2234412563282</c:v>
                </c:pt>
                <c:pt idx="44">
                  <c:v>1704.32694201568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M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M$2:$M$46</c:f>
              <c:numCache>
                <c:formatCode>General</c:formatCode>
                <c:ptCount val="45"/>
                <c:pt idx="0">
                  <c:v>627.77010371749168</c:v>
                </c:pt>
                <c:pt idx="1">
                  <c:v>900.88411343603377</c:v>
                </c:pt>
                <c:pt idx="2">
                  <c:v>1008.268843972995</c:v>
                </c:pt>
                <c:pt idx="3">
                  <c:v>881.09648877621669</c:v>
                </c:pt>
                <c:pt idx="4">
                  <c:v>613.96778128501421</c:v>
                </c:pt>
                <c:pt idx="5">
                  <c:v>375.80430271609339</c:v>
                </c:pt>
                <c:pt idx="6">
                  <c:v>237.66276673415922</c:v>
                </c:pt>
                <c:pt idx="7">
                  <c:v>97.659934860136815</c:v>
                </c:pt>
                <c:pt idx="8">
                  <c:v>70.355294554405987</c:v>
                </c:pt>
                <c:pt idx="9">
                  <c:v>139.47042941680763</c:v>
                </c:pt>
                <c:pt idx="10">
                  <c:v>144.78389044813795</c:v>
                </c:pt>
                <c:pt idx="11">
                  <c:v>168.34058647172964</c:v>
                </c:pt>
                <c:pt idx="12">
                  <c:v>195.22479785291384</c:v>
                </c:pt>
                <c:pt idx="13">
                  <c:v>226.9154203061762</c:v>
                </c:pt>
                <c:pt idx="14">
                  <c:v>247.91785216003495</c:v>
                </c:pt>
                <c:pt idx="15">
                  <c:v>242.96566422467183</c:v>
                </c:pt>
                <c:pt idx="16">
                  <c:v>224.31678926500871</c:v>
                </c:pt>
                <c:pt idx="17">
                  <c:v>189.60076872154156</c:v>
                </c:pt>
                <c:pt idx="18">
                  <c:v>155.98546913128442</c:v>
                </c:pt>
                <c:pt idx="19">
                  <c:v>139.06901486573298</c:v>
                </c:pt>
                <c:pt idx="20">
                  <c:v>131.69988879126771</c:v>
                </c:pt>
                <c:pt idx="21">
                  <c:v>122.64693431045242</c:v>
                </c:pt>
                <c:pt idx="22">
                  <c:v>108.12840381053115</c:v>
                </c:pt>
                <c:pt idx="23">
                  <c:v>101.18393207693958</c:v>
                </c:pt>
                <c:pt idx="24">
                  <c:v>127.51672662743707</c:v>
                </c:pt>
                <c:pt idx="25">
                  <c:v>265.93714008695991</c:v>
                </c:pt>
                <c:pt idx="26">
                  <c:v>497.01670818349476</c:v>
                </c:pt>
                <c:pt idx="27">
                  <c:v>697.18313043095395</c:v>
                </c:pt>
                <c:pt idx="28">
                  <c:v>780.33721104015081</c:v>
                </c:pt>
                <c:pt idx="29">
                  <c:v>704.17408174414368</c:v>
                </c:pt>
                <c:pt idx="30">
                  <c:v>549.61680333141965</c:v>
                </c:pt>
                <c:pt idx="31">
                  <c:v>409.9667937207102</c:v>
                </c:pt>
                <c:pt idx="32">
                  <c:v>309.6131559520461</c:v>
                </c:pt>
                <c:pt idx="33">
                  <c:v>230.62111042504435</c:v>
                </c:pt>
                <c:pt idx="34">
                  <c:v>158.32001165200805</c:v>
                </c:pt>
                <c:pt idx="35">
                  <c:v>106.90937120016231</c:v>
                </c:pt>
                <c:pt idx="36">
                  <c:v>79.737831508735184</c:v>
                </c:pt>
                <c:pt idx="37">
                  <c:v>65.120003725127034</c:v>
                </c:pt>
                <c:pt idx="38">
                  <c:v>53.599406109284395</c:v>
                </c:pt>
                <c:pt idx="39">
                  <c:v>46.830289153267557</c:v>
                </c:pt>
                <c:pt idx="40">
                  <c:v>47.358466194155262</c:v>
                </c:pt>
                <c:pt idx="41">
                  <c:v>50.612036766023522</c:v>
                </c:pt>
                <c:pt idx="42">
                  <c:v>53.236020305153644</c:v>
                </c:pt>
                <c:pt idx="43">
                  <c:v>48.995815020907152</c:v>
                </c:pt>
                <c:pt idx="44">
                  <c:v>56.4705765035499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ser>
          <c:idx val="8"/>
          <c:order val="11"/>
          <c:tx>
            <c:strRef>
              <c:f>List1!$H$1</c:f>
              <c:strCache>
                <c:ptCount val="1"/>
                <c:pt idx="0">
                  <c:v>Velká Británi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6</c:f>
              <c:strCache>
                <c:ptCount val="45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</c:strCache>
            </c:strRef>
          </c:cat>
          <c:val>
            <c:numRef>
              <c:f>List1!$H$2:$H$46</c:f>
              <c:numCache>
                <c:formatCode>General</c:formatCode>
                <c:ptCount val="45"/>
                <c:pt idx="0">
                  <c:v>1091.1262045884519</c:v>
                </c:pt>
                <c:pt idx="1">
                  <c:v>1089.0118894303387</c:v>
                </c:pt>
                <c:pt idx="2">
                  <c:v>845.01198599239024</c:v>
                </c:pt>
                <c:pt idx="3">
                  <c:v>618.89193047596939</c:v>
                </c:pt>
                <c:pt idx="4">
                  <c:v>458.89160840655819</c:v>
                </c:pt>
                <c:pt idx="5">
                  <c:v>324.57015083912233</c:v>
                </c:pt>
                <c:pt idx="6">
                  <c:v>228.8059263357612</c:v>
                </c:pt>
                <c:pt idx="7">
                  <c:v>203.462061038824</c:v>
                </c:pt>
                <c:pt idx="8">
                  <c:v>151.35352241305569</c:v>
                </c:pt>
                <c:pt idx="9">
                  <c:v>120.31173204095343</c:v>
                </c:pt>
                <c:pt idx="10">
                  <c:v>114.69755676704784</c:v>
                </c:pt>
                <c:pt idx="11">
                  <c:v>109.61526619587818</c:v>
                </c:pt>
                <c:pt idx="12">
                  <c:v>92.279057335158029</c:v>
                </c:pt>
                <c:pt idx="13">
                  <c:v>59.214048079996871</c:v>
                </c:pt>
                <c:pt idx="14">
                  <c:v>41.77498858615099</c:v>
                </c:pt>
                <c:pt idx="15">
                  <c:v>46.34008740217417</c:v>
                </c:pt>
                <c:pt idx="16">
                  <c:v>47.577233589200731</c:v>
                </c:pt>
                <c:pt idx="17">
                  <c:v>44.04651828347054</c:v>
                </c:pt>
                <c:pt idx="18">
                  <c:v>44.925156549316007</c:v>
                </c:pt>
                <c:pt idx="19">
                  <c:v>40.667140337911057</c:v>
                </c:pt>
                <c:pt idx="20">
                  <c:v>48.896660282727872</c:v>
                </c:pt>
                <c:pt idx="21">
                  <c:v>79.862047327365318</c:v>
                </c:pt>
                <c:pt idx="22">
                  <c:v>131.3005875430575</c:v>
                </c:pt>
                <c:pt idx="23">
                  <c:v>166.24776338441939</c:v>
                </c:pt>
                <c:pt idx="24">
                  <c:v>233.63990609267023</c:v>
                </c:pt>
                <c:pt idx="25">
                  <c:v>441.51278999782886</c:v>
                </c:pt>
                <c:pt idx="26">
                  <c:v>571.27796451779511</c:v>
                </c:pt>
                <c:pt idx="27">
                  <c:v>739.65179741839916</c:v>
                </c:pt>
                <c:pt idx="28">
                  <c:v>847.29380075302242</c:v>
                </c:pt>
                <c:pt idx="29">
                  <c:v>656.37510907125989</c:v>
                </c:pt>
                <c:pt idx="30">
                  <c:v>582.32706110501579</c:v>
                </c:pt>
                <c:pt idx="31">
                  <c:v>568.27913391480092</c:v>
                </c:pt>
                <c:pt idx="32">
                  <c:v>585.75345648286134</c:v>
                </c:pt>
                <c:pt idx="33">
                  <c:v>681.73219802102744</c:v>
                </c:pt>
                <c:pt idx="34">
                  <c:v>712.93120293233619</c:v>
                </c:pt>
                <c:pt idx="35">
                  <c:v>727.08491934519463</c:v>
                </c:pt>
                <c:pt idx="36">
                  <c:v>663.56289903198899</c:v>
                </c:pt>
                <c:pt idx="37">
                  <c:v>643.48351685632986</c:v>
                </c:pt>
                <c:pt idx="38">
                  <c:v>691.94085800613493</c:v>
                </c:pt>
                <c:pt idx="39">
                  <c:v>778.04887735374962</c:v>
                </c:pt>
                <c:pt idx="40">
                  <c:v>805.88613585660607</c:v>
                </c:pt>
                <c:pt idx="41">
                  <c:v>852.05137718246658</c:v>
                </c:pt>
                <c:pt idx="42">
                  <c:v>936.13764694178133</c:v>
                </c:pt>
                <c:pt idx="43">
                  <c:v>776.13291698809326</c:v>
                </c:pt>
                <c:pt idx="44">
                  <c:v>697.62115154419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546608"/>
        <c:axId val="301529320"/>
      </c:lineChart>
      <c:catAx>
        <c:axId val="115466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1529320"/>
        <c:crosses val="autoZero"/>
        <c:auto val="1"/>
        <c:lblAlgn val="ctr"/>
        <c:lblOffset val="100"/>
        <c:tickLblSkip val="1"/>
        <c:noMultiLvlLbl val="1"/>
      </c:catAx>
      <c:valAx>
        <c:axId val="3015293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15466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7.4950401637673789E-2"/>
          <c:y val="1.0209435626102294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7881422312393831"/>
          <c:h val="0.65739840534979432"/>
        </c:manualLayout>
      </c:layout>
      <c:lineChart>
        <c:grouping val="standard"/>
        <c:varyColors val="0"/>
        <c:ser>
          <c:idx val="9"/>
          <c:order val="0"/>
          <c:tx>
            <c:strRef>
              <c:f>List1!$I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46</c:f>
              <c:strCache>
                <c:ptCount val="45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</c:strCache>
            </c:strRef>
          </c:cat>
          <c:val>
            <c:numRef>
              <c:f>List1!$I$2:$I$46</c:f>
              <c:numCache>
                <c:formatCode>General</c:formatCode>
                <c:ptCount val="45"/>
                <c:pt idx="0">
                  <c:v>129.48646293666968</c:v>
                </c:pt>
                <c:pt idx="1">
                  <c:v>123.09024824603122</c:v>
                </c:pt>
                <c:pt idx="2">
                  <c:v>133.86053648359203</c:v>
                </c:pt>
                <c:pt idx="3">
                  <c:v>147.52083760036936</c:v>
                </c:pt>
                <c:pt idx="4">
                  <c:v>133.4526367679068</c:v>
                </c:pt>
                <c:pt idx="5">
                  <c:v>112.23317283492037</c:v>
                </c:pt>
                <c:pt idx="6">
                  <c:v>135.91739249672813</c:v>
                </c:pt>
                <c:pt idx="7">
                  <c:v>147.14765275410417</c:v>
                </c:pt>
                <c:pt idx="8">
                  <c:v>144.96061598064298</c:v>
                </c:pt>
                <c:pt idx="9">
                  <c:v>187.06107386977064</c:v>
                </c:pt>
                <c:pt idx="10">
                  <c:v>257.02021446846328</c:v>
                </c:pt>
                <c:pt idx="11">
                  <c:v>297.58453938575514</c:v>
                </c:pt>
                <c:pt idx="12">
                  <c:v>262.21876616411106</c:v>
                </c:pt>
                <c:pt idx="13">
                  <c:v>212.0904947216041</c:v>
                </c:pt>
                <c:pt idx="14">
                  <c:v>213.98245510499513</c:v>
                </c:pt>
                <c:pt idx="15">
                  <c:v>214.27753149506529</c:v>
                </c:pt>
                <c:pt idx="16">
                  <c:v>182.44399623690816</c:v>
                </c:pt>
                <c:pt idx="17">
                  <c:v>184.27520559881415</c:v>
                </c:pt>
                <c:pt idx="18">
                  <c:v>129.43439063253965</c:v>
                </c:pt>
                <c:pt idx="19">
                  <c:v>150.14181024158077</c:v>
                </c:pt>
                <c:pt idx="20">
                  <c:v>106.1580706864171</c:v>
                </c:pt>
                <c:pt idx="21">
                  <c:v>79.141223560287571</c:v>
                </c:pt>
                <c:pt idx="22">
                  <c:v>45.840985069134661</c:v>
                </c:pt>
                <c:pt idx="23">
                  <c:v>26.27915615095414</c:v>
                </c:pt>
                <c:pt idx="24">
                  <c:v>21.314929823891468</c:v>
                </c:pt>
                <c:pt idx="25">
                  <c:v>35.495953981969095</c:v>
                </c:pt>
                <c:pt idx="26">
                  <c:v>65.185846053440073</c:v>
                </c:pt>
                <c:pt idx="27">
                  <c:v>82.803642284099553</c:v>
                </c:pt>
                <c:pt idx="28">
                  <c:v>90.171873318498513</c:v>
                </c:pt>
                <c:pt idx="29">
                  <c:v>97.921967916517687</c:v>
                </c:pt>
                <c:pt idx="30">
                  <c:v>106.17542812112713</c:v>
                </c:pt>
                <c:pt idx="31">
                  <c:v>115.84351925460231</c:v>
                </c:pt>
                <c:pt idx="32">
                  <c:v>119.97458871558455</c:v>
                </c:pt>
                <c:pt idx="33">
                  <c:v>122.46538059647088</c:v>
                </c:pt>
                <c:pt idx="34">
                  <c:v>119.35839978337921</c:v>
                </c:pt>
                <c:pt idx="35">
                  <c:v>119.29764876189418</c:v>
                </c:pt>
                <c:pt idx="36">
                  <c:v>125.54632525749756</c:v>
                </c:pt>
                <c:pt idx="37">
                  <c:v>118.25620267929362</c:v>
                </c:pt>
                <c:pt idx="38">
                  <c:v>115.4182621042071</c:v>
                </c:pt>
                <c:pt idx="39">
                  <c:v>129.3476034589896</c:v>
                </c:pt>
                <c:pt idx="40">
                  <c:v>198.00493645443152</c:v>
                </c:pt>
                <c:pt idx="41">
                  <c:v>346.46307552914141</c:v>
                </c:pt>
                <c:pt idx="42">
                  <c:v>471.92261361308886</c:v>
                </c:pt>
                <c:pt idx="43">
                  <c:v>471.44528415856365</c:v>
                </c:pt>
                <c:pt idx="44">
                  <c:v>605.661648053710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46</c:f>
              <c:strCache>
                <c:ptCount val="45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</c:strCache>
            </c:strRef>
          </c:cat>
          <c:val>
            <c:numRef>
              <c:f>List1!$C$2:$C$46</c:f>
              <c:numCache>
                <c:formatCode>General</c:formatCode>
                <c:ptCount val="45"/>
                <c:pt idx="0">
                  <c:v>831.35877247850397</c:v>
                </c:pt>
                <c:pt idx="1">
                  <c:v>527.76624216764276</c:v>
                </c:pt>
                <c:pt idx="2">
                  <c:v>450.5075258050378</c:v>
                </c:pt>
                <c:pt idx="3">
                  <c:v>443.15756803924171</c:v>
                </c:pt>
                <c:pt idx="4">
                  <c:v>468.33070583252817</c:v>
                </c:pt>
                <c:pt idx="5">
                  <c:v>500.4049490089667</c:v>
                </c:pt>
                <c:pt idx="6">
                  <c:v>620.14567317056878</c:v>
                </c:pt>
                <c:pt idx="7">
                  <c:v>775.6356193915077</c:v>
                </c:pt>
                <c:pt idx="8">
                  <c:v>798.13434507154011</c:v>
                </c:pt>
                <c:pt idx="9">
                  <c:v>721.70787583508752</c:v>
                </c:pt>
                <c:pt idx="10">
                  <c:v>607.66196627828162</c:v>
                </c:pt>
                <c:pt idx="11">
                  <c:v>462.44886940163025</c:v>
                </c:pt>
                <c:pt idx="12">
                  <c:v>346.27091102726507</c:v>
                </c:pt>
                <c:pt idx="13">
                  <c:v>256.07028429842359</c:v>
                </c:pt>
                <c:pt idx="14">
                  <c:v>201.26353815932558</c:v>
                </c:pt>
                <c:pt idx="15">
                  <c:v>163.47577819548064</c:v>
                </c:pt>
                <c:pt idx="16">
                  <c:v>134.65571479321139</c:v>
                </c:pt>
                <c:pt idx="17">
                  <c:v>101.3564786558068</c:v>
                </c:pt>
                <c:pt idx="18">
                  <c:v>71.358177749096939</c:v>
                </c:pt>
                <c:pt idx="19">
                  <c:v>46.69934997759011</c:v>
                </c:pt>
                <c:pt idx="20">
                  <c:v>29.858034537133602</c:v>
                </c:pt>
                <c:pt idx="21">
                  <c:v>21.937660201727351</c:v>
                </c:pt>
                <c:pt idx="22">
                  <c:v>13.231794196694034</c:v>
                </c:pt>
                <c:pt idx="23">
                  <c:v>8.7339192789485711</c:v>
                </c:pt>
                <c:pt idx="24">
                  <c:v>6.470955183118213</c:v>
                </c:pt>
                <c:pt idx="25">
                  <c:v>9.444602218134964</c:v>
                </c:pt>
                <c:pt idx="26">
                  <c:v>12.698781992304239</c:v>
                </c:pt>
                <c:pt idx="27">
                  <c:v>15.045905909880355</c:v>
                </c:pt>
                <c:pt idx="28">
                  <c:v>12.539813440117808</c:v>
                </c:pt>
                <c:pt idx="29">
                  <c:v>11.015585557389096</c:v>
                </c:pt>
                <c:pt idx="30">
                  <c:v>11.183905200880611</c:v>
                </c:pt>
                <c:pt idx="31">
                  <c:v>11.931992505287342</c:v>
                </c:pt>
                <c:pt idx="32">
                  <c:v>12.147067605304276</c:v>
                </c:pt>
                <c:pt idx="33">
                  <c:v>12.277982883575453</c:v>
                </c:pt>
                <c:pt idx="34">
                  <c:v>16.364409783897216</c:v>
                </c:pt>
                <c:pt idx="35">
                  <c:v>24.340890667133973</c:v>
                </c:pt>
                <c:pt idx="36">
                  <c:v>28.530179571811658</c:v>
                </c:pt>
                <c:pt idx="37">
                  <c:v>30.344291284997983</c:v>
                </c:pt>
                <c:pt idx="38">
                  <c:v>42.005102142437885</c:v>
                </c:pt>
                <c:pt idx="39">
                  <c:v>55.741855269606454</c:v>
                </c:pt>
                <c:pt idx="40">
                  <c:v>89.994902720129588</c:v>
                </c:pt>
                <c:pt idx="41">
                  <c:v>201.24483597671539</c:v>
                </c:pt>
                <c:pt idx="42">
                  <c:v>321.05101777745318</c:v>
                </c:pt>
                <c:pt idx="43">
                  <c:v>499.17995604800058</c:v>
                </c:pt>
                <c:pt idx="44">
                  <c:v>718.238620960901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46</c:f>
              <c:strCache>
                <c:ptCount val="45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</c:strCache>
            </c:strRef>
          </c:cat>
          <c:val>
            <c:numRef>
              <c:f>List1!$D$2:$D$46</c:f>
              <c:numCache>
                <c:formatCode>General</c:formatCode>
                <c:ptCount val="45"/>
                <c:pt idx="0">
                  <c:v>183.85561923924902</c:v>
                </c:pt>
                <c:pt idx="1">
                  <c:v>179.12004322743113</c:v>
                </c:pt>
                <c:pt idx="2">
                  <c:v>197.08938545295217</c:v>
                </c:pt>
                <c:pt idx="3">
                  <c:v>199.34725105457179</c:v>
                </c:pt>
                <c:pt idx="4">
                  <c:v>195.66930682456515</c:v>
                </c:pt>
                <c:pt idx="5">
                  <c:v>170.072241004099</c:v>
                </c:pt>
                <c:pt idx="6">
                  <c:v>178.99972275787113</c:v>
                </c:pt>
                <c:pt idx="7">
                  <c:v>193.95956780649664</c:v>
                </c:pt>
                <c:pt idx="8">
                  <c:v>188.64467101531582</c:v>
                </c:pt>
                <c:pt idx="9">
                  <c:v>214.91612564047625</c:v>
                </c:pt>
                <c:pt idx="10">
                  <c:v>275.77303079360291</c:v>
                </c:pt>
                <c:pt idx="11">
                  <c:v>335.80106160087189</c:v>
                </c:pt>
                <c:pt idx="12">
                  <c:v>363.58172112816749</c:v>
                </c:pt>
                <c:pt idx="13">
                  <c:v>305.67489563610428</c:v>
                </c:pt>
                <c:pt idx="14">
                  <c:v>304.73164257226983</c:v>
                </c:pt>
                <c:pt idx="15">
                  <c:v>271.34345498832027</c:v>
                </c:pt>
                <c:pt idx="16">
                  <c:v>217.23489419582373</c:v>
                </c:pt>
                <c:pt idx="17">
                  <c:v>162.86044001997854</c:v>
                </c:pt>
                <c:pt idx="18">
                  <c:v>124.7322201105237</c:v>
                </c:pt>
                <c:pt idx="19">
                  <c:v>126.63060974135911</c:v>
                </c:pt>
                <c:pt idx="20">
                  <c:v>93.884131328396208</c:v>
                </c:pt>
                <c:pt idx="21">
                  <c:v>72.467087746717866</c:v>
                </c:pt>
                <c:pt idx="22">
                  <c:v>43.313883603700859</c:v>
                </c:pt>
                <c:pt idx="23">
                  <c:v>25.408415207699271</c:v>
                </c:pt>
                <c:pt idx="24">
                  <c:v>18.884371969335334</c:v>
                </c:pt>
                <c:pt idx="25">
                  <c:v>23.156491357662905</c:v>
                </c:pt>
                <c:pt idx="26">
                  <c:v>37.881637218751642</c:v>
                </c:pt>
                <c:pt idx="27">
                  <c:v>75.204749788681596</c:v>
                </c:pt>
                <c:pt idx="28">
                  <c:v>181.43435546909117</c:v>
                </c:pt>
                <c:pt idx="29">
                  <c:v>226.51293929300525</c:v>
                </c:pt>
                <c:pt idx="30">
                  <c:v>234.70215841256362</c:v>
                </c:pt>
                <c:pt idx="31">
                  <c:v>246.3687876461953</c:v>
                </c:pt>
                <c:pt idx="32">
                  <c:v>221.9437323255172</c:v>
                </c:pt>
                <c:pt idx="33">
                  <c:v>185.58615438785876</c:v>
                </c:pt>
                <c:pt idx="34">
                  <c:v>141.55777515627699</c:v>
                </c:pt>
                <c:pt idx="35">
                  <c:v>104.76496391514847</c:v>
                </c:pt>
                <c:pt idx="36">
                  <c:v>75.831604580710206</c:v>
                </c:pt>
                <c:pt idx="37">
                  <c:v>58.890185379084343</c:v>
                </c:pt>
                <c:pt idx="38">
                  <c:v>49.687897614588763</c:v>
                </c:pt>
                <c:pt idx="39">
                  <c:v>43.355475864783322</c:v>
                </c:pt>
                <c:pt idx="40">
                  <c:v>48.607984264340445</c:v>
                </c:pt>
                <c:pt idx="41">
                  <c:v>53.383667099345011</c:v>
                </c:pt>
                <c:pt idx="42">
                  <c:v>58.847107680106078</c:v>
                </c:pt>
                <c:pt idx="43">
                  <c:v>72.333398336095655</c:v>
                </c:pt>
                <c:pt idx="44">
                  <c:v>100.100688922329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46</c:f>
              <c:strCache>
                <c:ptCount val="45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</c:strCache>
            </c:strRef>
          </c:cat>
          <c:val>
            <c:numRef>
              <c:f>List1!$F$2:$F$46</c:f>
              <c:numCache>
                <c:formatCode>General</c:formatCode>
                <c:ptCount val="45"/>
                <c:pt idx="0">
                  <c:v>204.66625514105212</c:v>
                </c:pt>
                <c:pt idx="1">
                  <c:v>157.64361881782696</c:v>
                </c:pt>
                <c:pt idx="2">
                  <c:v>142.5500986829839</c:v>
                </c:pt>
                <c:pt idx="3">
                  <c:v>138.53946769403206</c:v>
                </c:pt>
                <c:pt idx="4">
                  <c:v>139.69638047930661</c:v>
                </c:pt>
                <c:pt idx="5">
                  <c:v>139.65446334940538</c:v>
                </c:pt>
                <c:pt idx="6">
                  <c:v>150.54956375333896</c:v>
                </c:pt>
                <c:pt idx="7">
                  <c:v>203.70048446812731</c:v>
                </c:pt>
                <c:pt idx="8">
                  <c:v>239.10033901233317</c:v>
                </c:pt>
                <c:pt idx="9">
                  <c:v>261.58133412097294</c:v>
                </c:pt>
                <c:pt idx="10">
                  <c:v>250.39449049292665</c:v>
                </c:pt>
                <c:pt idx="11">
                  <c:v>242.19717656943772</c:v>
                </c:pt>
                <c:pt idx="12">
                  <c:v>220.38350216882583</c:v>
                </c:pt>
                <c:pt idx="13">
                  <c:v>168.90088322410733</c:v>
                </c:pt>
                <c:pt idx="14">
                  <c:v>163.98987228487658</c:v>
                </c:pt>
                <c:pt idx="15">
                  <c:v>153.0310578434931</c:v>
                </c:pt>
                <c:pt idx="16">
                  <c:v>130.6875509209294</c:v>
                </c:pt>
                <c:pt idx="17">
                  <c:v>106.8216138403522</c:v>
                </c:pt>
                <c:pt idx="18">
                  <c:v>74.382785352370817</c:v>
                </c:pt>
                <c:pt idx="19">
                  <c:v>50.998056923059998</c:v>
                </c:pt>
                <c:pt idx="20">
                  <c:v>37.566131817502608</c:v>
                </c:pt>
                <c:pt idx="21">
                  <c:v>27.26960802855891</c:v>
                </c:pt>
                <c:pt idx="22">
                  <c:v>19.389187607123418</c:v>
                </c:pt>
                <c:pt idx="23">
                  <c:v>12.414177191554979</c:v>
                </c:pt>
                <c:pt idx="24">
                  <c:v>8.8294242423998544</c:v>
                </c:pt>
                <c:pt idx="25">
                  <c:v>9.4380609685660417</c:v>
                </c:pt>
                <c:pt idx="26">
                  <c:v>14.746446299260676</c:v>
                </c:pt>
                <c:pt idx="27">
                  <c:v>31.593779149172136</c:v>
                </c:pt>
                <c:pt idx="28">
                  <c:v>52.38132220980134</c:v>
                </c:pt>
                <c:pt idx="29">
                  <c:v>64.309260694501788</c:v>
                </c:pt>
                <c:pt idx="30">
                  <c:v>71.267504258109724</c:v>
                </c:pt>
                <c:pt idx="31">
                  <c:v>72.288605542504229</c:v>
                </c:pt>
                <c:pt idx="32">
                  <c:v>75.923659047540866</c:v>
                </c:pt>
                <c:pt idx="33">
                  <c:v>77.161052722225847</c:v>
                </c:pt>
                <c:pt idx="34">
                  <c:v>66.991957008181956</c:v>
                </c:pt>
                <c:pt idx="35">
                  <c:v>55.320551358477168</c:v>
                </c:pt>
                <c:pt idx="36">
                  <c:v>48.404224924770489</c:v>
                </c:pt>
                <c:pt idx="37">
                  <c:v>39.594920904723239</c:v>
                </c:pt>
                <c:pt idx="38">
                  <c:v>34.972299819213099</c:v>
                </c:pt>
                <c:pt idx="39">
                  <c:v>29.997574842532433</c:v>
                </c:pt>
                <c:pt idx="40">
                  <c:v>29.896973730769428</c:v>
                </c:pt>
                <c:pt idx="41">
                  <c:v>42.396661867322962</c:v>
                </c:pt>
                <c:pt idx="42">
                  <c:v>53.006725787928026</c:v>
                </c:pt>
                <c:pt idx="43">
                  <c:v>41.469454953907253</c:v>
                </c:pt>
                <c:pt idx="44">
                  <c:v>62.956175741289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K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6</c:f>
              <c:strCache>
                <c:ptCount val="45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</c:strCache>
            </c:strRef>
          </c:cat>
          <c:val>
            <c:numRef>
              <c:f>List1!$K$2:$K$46</c:f>
              <c:numCache>
                <c:formatCode>General</c:formatCode>
                <c:ptCount val="45"/>
                <c:pt idx="0">
                  <c:v>151.54266440357495</c:v>
                </c:pt>
                <c:pt idx="1">
                  <c:v>92.604288068837732</c:v>
                </c:pt>
                <c:pt idx="2">
                  <c:v>78.949582610251511</c:v>
                </c:pt>
                <c:pt idx="3">
                  <c:v>84.855703337091285</c:v>
                </c:pt>
                <c:pt idx="4">
                  <c:v>91.549989221585577</c:v>
                </c:pt>
                <c:pt idx="5">
                  <c:v>114.36583514901338</c:v>
                </c:pt>
                <c:pt idx="6">
                  <c:v>171.08301876672419</c:v>
                </c:pt>
                <c:pt idx="7">
                  <c:v>280.19783150175351</c:v>
                </c:pt>
                <c:pt idx="8">
                  <c:v>366.36373146455622</c:v>
                </c:pt>
                <c:pt idx="9">
                  <c:v>567.89858586793252</c:v>
                </c:pt>
                <c:pt idx="10">
                  <c:v>577.72506056076827</c:v>
                </c:pt>
                <c:pt idx="11">
                  <c:v>619.03719791523145</c:v>
                </c:pt>
                <c:pt idx="12">
                  <c:v>499.06208346239112</c:v>
                </c:pt>
                <c:pt idx="13">
                  <c:v>362.47408523197544</c:v>
                </c:pt>
                <c:pt idx="14">
                  <c:v>286.11418813973165</c:v>
                </c:pt>
                <c:pt idx="15">
                  <c:v>187.14316334282748</c:v>
                </c:pt>
                <c:pt idx="16">
                  <c:v>130.15984603551902</c:v>
                </c:pt>
                <c:pt idx="17">
                  <c:v>84.702164670015719</c:v>
                </c:pt>
                <c:pt idx="18">
                  <c:v>63.431941324481862</c:v>
                </c:pt>
                <c:pt idx="19">
                  <c:v>38.620092725071821</c:v>
                </c:pt>
                <c:pt idx="20">
                  <c:v>22.437117215308092</c:v>
                </c:pt>
                <c:pt idx="21">
                  <c:v>15.875898175612614</c:v>
                </c:pt>
                <c:pt idx="22">
                  <c:v>9.7855310482821789</c:v>
                </c:pt>
                <c:pt idx="23">
                  <c:v>5.9880080159467308</c:v>
                </c:pt>
                <c:pt idx="24">
                  <c:v>4.217195389008638</c:v>
                </c:pt>
                <c:pt idx="25">
                  <c:v>2.2519004504415054</c:v>
                </c:pt>
                <c:pt idx="26">
                  <c:v>2.8353473853286228</c:v>
                </c:pt>
                <c:pt idx="27">
                  <c:v>3.3266711199704058</c:v>
                </c:pt>
                <c:pt idx="28">
                  <c:v>4.0738926330714511</c:v>
                </c:pt>
                <c:pt idx="29">
                  <c:v>3.9305898771342638</c:v>
                </c:pt>
                <c:pt idx="30">
                  <c:v>3.7361075655052254</c:v>
                </c:pt>
                <c:pt idx="31">
                  <c:v>5.0463041912166471</c:v>
                </c:pt>
                <c:pt idx="32">
                  <c:v>6.3155571723745858</c:v>
                </c:pt>
                <c:pt idx="33">
                  <c:v>11.32091771903775</c:v>
                </c:pt>
                <c:pt idx="34">
                  <c:v>14.954666173159271</c:v>
                </c:pt>
                <c:pt idx="35">
                  <c:v>19.622241652256211</c:v>
                </c:pt>
                <c:pt idx="36">
                  <c:v>26.87950264936088</c:v>
                </c:pt>
                <c:pt idx="37">
                  <c:v>31.004574838124185</c:v>
                </c:pt>
                <c:pt idx="38">
                  <c:v>37.013054676347657</c:v>
                </c:pt>
                <c:pt idx="39">
                  <c:v>46.89070892487517</c:v>
                </c:pt>
                <c:pt idx="40">
                  <c:v>70.955336011184158</c:v>
                </c:pt>
                <c:pt idx="41">
                  <c:v>144.56177300720628</c:v>
                </c:pt>
                <c:pt idx="42">
                  <c:v>246.85946892408086</c:v>
                </c:pt>
                <c:pt idx="43">
                  <c:v>362.02370514188715</c:v>
                </c:pt>
                <c:pt idx="44">
                  <c:v>520.465373652723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46</c:f>
              <c:strCache>
                <c:ptCount val="45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</c:strCache>
            </c:strRef>
          </c:cat>
          <c:val>
            <c:numRef>
              <c:f>List1!$E$2:$E$46</c:f>
              <c:numCache>
                <c:formatCode>General</c:formatCode>
                <c:ptCount val="45"/>
                <c:pt idx="0">
                  <c:v>174.87645988549434</c:v>
                </c:pt>
                <c:pt idx="1">
                  <c:v>142.94541478260453</c:v>
                </c:pt>
                <c:pt idx="2">
                  <c:v>114.85003897773473</c:v>
                </c:pt>
                <c:pt idx="3">
                  <c:v>93.936623272260931</c:v>
                </c:pt>
                <c:pt idx="4">
                  <c:v>77.618796299399165</c:v>
                </c:pt>
                <c:pt idx="5">
                  <c:v>61.086941384516216</c:v>
                </c:pt>
                <c:pt idx="6">
                  <c:v>62.992751991839619</c:v>
                </c:pt>
                <c:pt idx="7">
                  <c:v>67.753070095557831</c:v>
                </c:pt>
                <c:pt idx="8">
                  <c:v>70.186736132922221</c:v>
                </c:pt>
                <c:pt idx="9">
                  <c:v>85.7434412670233</c:v>
                </c:pt>
                <c:pt idx="10">
                  <c:v>111.31978033855397</c:v>
                </c:pt>
                <c:pt idx="11">
                  <c:v>139.80233028573176</c:v>
                </c:pt>
                <c:pt idx="12">
                  <c:v>132.38229416094137</c:v>
                </c:pt>
                <c:pt idx="13">
                  <c:v>142.20232900637373</c:v>
                </c:pt>
                <c:pt idx="14">
                  <c:v>170.81714341210392</c:v>
                </c:pt>
                <c:pt idx="15">
                  <c:v>174.05401543413205</c:v>
                </c:pt>
                <c:pt idx="16">
                  <c:v>150.05523063188107</c:v>
                </c:pt>
                <c:pt idx="17">
                  <c:v>121.422380163621</c:v>
                </c:pt>
                <c:pt idx="18">
                  <c:v>85.150656011874759</c:v>
                </c:pt>
                <c:pt idx="19">
                  <c:v>63.361890071617715</c:v>
                </c:pt>
                <c:pt idx="20">
                  <c:v>35.917014921992049</c:v>
                </c:pt>
                <c:pt idx="21">
                  <c:v>24.858503782841673</c:v>
                </c:pt>
                <c:pt idx="22">
                  <c:v>16.86973048627593</c:v>
                </c:pt>
                <c:pt idx="23">
                  <c:v>8.7378710936398587</c:v>
                </c:pt>
                <c:pt idx="24">
                  <c:v>5.7919808804270252</c:v>
                </c:pt>
                <c:pt idx="25">
                  <c:v>4.203604973629413</c:v>
                </c:pt>
                <c:pt idx="26">
                  <c:v>6.6973912194267253</c:v>
                </c:pt>
                <c:pt idx="27">
                  <c:v>10.93466350977857</c:v>
                </c:pt>
                <c:pt idx="28">
                  <c:v>15.181555033479682</c:v>
                </c:pt>
                <c:pt idx="29">
                  <c:v>18.630050189191685</c:v>
                </c:pt>
                <c:pt idx="30">
                  <c:v>24.530247444797958</c:v>
                </c:pt>
                <c:pt idx="31">
                  <c:v>38.539458413835796</c:v>
                </c:pt>
                <c:pt idx="32">
                  <c:v>59.647663594632228</c:v>
                </c:pt>
                <c:pt idx="33">
                  <c:v>79.742242061249726</c:v>
                </c:pt>
                <c:pt idx="34">
                  <c:v>89.779912061209203</c:v>
                </c:pt>
                <c:pt idx="35">
                  <c:v>86.147449067692492</c:v>
                </c:pt>
                <c:pt idx="36">
                  <c:v>73.860080868173327</c:v>
                </c:pt>
                <c:pt idx="37">
                  <c:v>64.427220165048965</c:v>
                </c:pt>
                <c:pt idx="38">
                  <c:v>67.86128647073707</c:v>
                </c:pt>
                <c:pt idx="39">
                  <c:v>69.613189344472218</c:v>
                </c:pt>
                <c:pt idx="40">
                  <c:v>78.371501308979262</c:v>
                </c:pt>
                <c:pt idx="41">
                  <c:v>116.97829435625992</c:v>
                </c:pt>
                <c:pt idx="42">
                  <c:v>164.28808877628936</c:v>
                </c:pt>
                <c:pt idx="43">
                  <c:v>209.23395660073655</c:v>
                </c:pt>
                <c:pt idx="44">
                  <c:v>315.958148206678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46</c:f>
              <c:strCache>
                <c:ptCount val="45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</c:strCache>
            </c:strRef>
          </c:cat>
          <c:val>
            <c:numRef>
              <c:f>List1!$G$2:$G$46</c:f>
              <c:numCache>
                <c:formatCode>General</c:formatCode>
                <c:ptCount val="45"/>
                <c:pt idx="0">
                  <c:v>297.64036769029133</c:v>
                </c:pt>
                <c:pt idx="1">
                  <c:v>229.10702432301784</c:v>
                </c:pt>
                <c:pt idx="2">
                  <c:v>209.82232745093589</c:v>
                </c:pt>
                <c:pt idx="3">
                  <c:v>170.67272686015895</c:v>
                </c:pt>
                <c:pt idx="4">
                  <c:v>156.98329205343532</c:v>
                </c:pt>
                <c:pt idx="5">
                  <c:v>135.22840761656485</c:v>
                </c:pt>
                <c:pt idx="6">
                  <c:v>157.06946138709074</c:v>
                </c:pt>
                <c:pt idx="7">
                  <c:v>183.75323170905097</c:v>
                </c:pt>
                <c:pt idx="8">
                  <c:v>179.86986707231358</c:v>
                </c:pt>
                <c:pt idx="9">
                  <c:v>212.71761706175784</c:v>
                </c:pt>
                <c:pt idx="10">
                  <c:v>255.07846148675995</c:v>
                </c:pt>
                <c:pt idx="11">
                  <c:v>292.75743878315114</c:v>
                </c:pt>
                <c:pt idx="12">
                  <c:v>285.83516897949943</c:v>
                </c:pt>
                <c:pt idx="13">
                  <c:v>278.52226486327658</c:v>
                </c:pt>
                <c:pt idx="14">
                  <c:v>305.49326629742148</c:v>
                </c:pt>
                <c:pt idx="15">
                  <c:v>329.44259643138321</c:v>
                </c:pt>
                <c:pt idx="16">
                  <c:v>266.96982953120727</c:v>
                </c:pt>
                <c:pt idx="17">
                  <c:v>301.38011677093635</c:v>
                </c:pt>
                <c:pt idx="18">
                  <c:v>219.31818801976263</c:v>
                </c:pt>
                <c:pt idx="19">
                  <c:v>161.31473722518086</c:v>
                </c:pt>
                <c:pt idx="20">
                  <c:v>121.38961263150519</c:v>
                </c:pt>
                <c:pt idx="21">
                  <c:v>91.345238296983766</c:v>
                </c:pt>
                <c:pt idx="22">
                  <c:v>56.866015590330306</c:v>
                </c:pt>
                <c:pt idx="23">
                  <c:v>36.156652401812195</c:v>
                </c:pt>
                <c:pt idx="24">
                  <c:v>24.874214315196511</c:v>
                </c:pt>
                <c:pt idx="25">
                  <c:v>33.393489102595218</c:v>
                </c:pt>
                <c:pt idx="26">
                  <c:v>224.67217595088579</c:v>
                </c:pt>
                <c:pt idx="27">
                  <c:v>402.76121012765407</c:v>
                </c:pt>
                <c:pt idx="28">
                  <c:v>258.37587465464048</c:v>
                </c:pt>
                <c:pt idx="29">
                  <c:v>140.14580425716721</c:v>
                </c:pt>
                <c:pt idx="30">
                  <c:v>103.61000678727119</c:v>
                </c:pt>
                <c:pt idx="31">
                  <c:v>92.563098212646949</c:v>
                </c:pt>
                <c:pt idx="32">
                  <c:v>97.193263741064598</c:v>
                </c:pt>
                <c:pt idx="33">
                  <c:v>102.42661460507016</c:v>
                </c:pt>
                <c:pt idx="34">
                  <c:v>101.4557734458858</c:v>
                </c:pt>
                <c:pt idx="35">
                  <c:v>96.027105425594641</c:v>
                </c:pt>
                <c:pt idx="36">
                  <c:v>80.556837723325771</c:v>
                </c:pt>
                <c:pt idx="37">
                  <c:v>66.71229811602241</c:v>
                </c:pt>
                <c:pt idx="38">
                  <c:v>66.310174558963809</c:v>
                </c:pt>
                <c:pt idx="39">
                  <c:v>92.68947990200823</c:v>
                </c:pt>
                <c:pt idx="40">
                  <c:v>135.19968450534637</c:v>
                </c:pt>
                <c:pt idx="41">
                  <c:v>200.15412821479833</c:v>
                </c:pt>
                <c:pt idx="42">
                  <c:v>284.2668871069709</c:v>
                </c:pt>
                <c:pt idx="43">
                  <c:v>396.53403961548946</c:v>
                </c:pt>
                <c:pt idx="44">
                  <c:v>540.695334820999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J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46</c:f>
              <c:strCache>
                <c:ptCount val="45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</c:strCache>
            </c:strRef>
          </c:cat>
          <c:val>
            <c:numRef>
              <c:f>List1!$J$2:$J$46</c:f>
              <c:numCache>
                <c:formatCode>General</c:formatCode>
                <c:ptCount val="45"/>
                <c:pt idx="0">
                  <c:v>177.08719010400353</c:v>
                </c:pt>
                <c:pt idx="1">
                  <c:v>127.97782652036304</c:v>
                </c:pt>
                <c:pt idx="2">
                  <c:v>102.60777280487257</c:v>
                </c:pt>
                <c:pt idx="3">
                  <c:v>99.48591261246797</c:v>
                </c:pt>
                <c:pt idx="4">
                  <c:v>96.933100353868781</c:v>
                </c:pt>
                <c:pt idx="5">
                  <c:v>102.25475232741921</c:v>
                </c:pt>
                <c:pt idx="6">
                  <c:v>134.76425002722738</c:v>
                </c:pt>
                <c:pt idx="7">
                  <c:v>182.10324226125107</c:v>
                </c:pt>
                <c:pt idx="8">
                  <c:v>235.57267218955786</c:v>
                </c:pt>
                <c:pt idx="9">
                  <c:v>308.46876630249881</c:v>
                </c:pt>
                <c:pt idx="10">
                  <c:v>409.79881573748429</c:v>
                </c:pt>
                <c:pt idx="11">
                  <c:v>511.10515484189449</c:v>
                </c:pt>
                <c:pt idx="12">
                  <c:v>475.56073482845761</c:v>
                </c:pt>
                <c:pt idx="13">
                  <c:v>363.9377674426496</c:v>
                </c:pt>
                <c:pt idx="14">
                  <c:v>286.40762094283969</c:v>
                </c:pt>
                <c:pt idx="15">
                  <c:v>176.51814217019813</c:v>
                </c:pt>
                <c:pt idx="16">
                  <c:v>114.43395879955965</c:v>
                </c:pt>
                <c:pt idx="17">
                  <c:v>77.274601825832448</c:v>
                </c:pt>
                <c:pt idx="18">
                  <c:v>54.109608853837884</c:v>
                </c:pt>
                <c:pt idx="19">
                  <c:v>28.974023962924633</c:v>
                </c:pt>
                <c:pt idx="20">
                  <c:v>16.128293753502874</c:v>
                </c:pt>
                <c:pt idx="21">
                  <c:v>8.0509744708763105</c:v>
                </c:pt>
                <c:pt idx="22">
                  <c:v>5.6377897145534375</c:v>
                </c:pt>
                <c:pt idx="23">
                  <c:v>3.2246049582305645</c:v>
                </c:pt>
                <c:pt idx="24">
                  <c:v>2.2287710740711253</c:v>
                </c:pt>
                <c:pt idx="25">
                  <c:v>1.630743847340457</c:v>
                </c:pt>
                <c:pt idx="26">
                  <c:v>1.4753094580139838</c:v>
                </c:pt>
                <c:pt idx="27">
                  <c:v>1.6570886590907066</c:v>
                </c:pt>
                <c:pt idx="28">
                  <c:v>1.9442471071684286</c:v>
                </c:pt>
                <c:pt idx="29">
                  <c:v>2.3604951328223742</c:v>
                </c:pt>
                <c:pt idx="30">
                  <c:v>2.7451293843760198</c:v>
                </c:pt>
                <c:pt idx="31">
                  <c:v>3.4274600087074871</c:v>
                </c:pt>
                <c:pt idx="32">
                  <c:v>3.5565495862837109</c:v>
                </c:pt>
                <c:pt idx="33">
                  <c:v>4.2467836541402537</c:v>
                </c:pt>
                <c:pt idx="34">
                  <c:v>6.014520522582008</c:v>
                </c:pt>
                <c:pt idx="35">
                  <c:v>8.5646983000061798</c:v>
                </c:pt>
                <c:pt idx="36">
                  <c:v>11.539027546609372</c:v>
                </c:pt>
                <c:pt idx="37">
                  <c:v>14.115550135783794</c:v>
                </c:pt>
                <c:pt idx="38">
                  <c:v>20.801863357997171</c:v>
                </c:pt>
                <c:pt idx="39">
                  <c:v>30.970960693593558</c:v>
                </c:pt>
                <c:pt idx="40">
                  <c:v>46.946454538944984</c:v>
                </c:pt>
                <c:pt idx="41">
                  <c:v>91.564027719167896</c:v>
                </c:pt>
                <c:pt idx="42">
                  <c:v>142.98646577448031</c:v>
                </c:pt>
                <c:pt idx="43">
                  <c:v>214.39934698588218</c:v>
                </c:pt>
                <c:pt idx="44">
                  <c:v>269.997437703609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46</c:f>
              <c:strCache>
                <c:ptCount val="45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</c:strCache>
            </c:strRef>
          </c:cat>
          <c:val>
            <c:numRef>
              <c:f>List1!$B$2:$B$46</c:f>
              <c:numCache>
                <c:formatCode>General</c:formatCode>
                <c:ptCount val="45"/>
                <c:pt idx="0">
                  <c:v>164.41854591765659</c:v>
                </c:pt>
                <c:pt idx="1">
                  <c:v>122.99653165059817</c:v>
                </c:pt>
                <c:pt idx="2">
                  <c:v>114.15489204436683</c:v>
                </c:pt>
                <c:pt idx="3">
                  <c:v>106.84115966360875</c:v>
                </c:pt>
                <c:pt idx="4">
                  <c:v>102.41472255451708</c:v>
                </c:pt>
                <c:pt idx="5">
                  <c:v>106.32436751381633</c:v>
                </c:pt>
                <c:pt idx="6">
                  <c:v>130.73717928553259</c:v>
                </c:pt>
                <c:pt idx="7">
                  <c:v>159.56519355438857</c:v>
                </c:pt>
                <c:pt idx="8">
                  <c:v>183.56232468388049</c:v>
                </c:pt>
                <c:pt idx="9">
                  <c:v>204.81821049708216</c:v>
                </c:pt>
                <c:pt idx="10">
                  <c:v>236.97166990373285</c:v>
                </c:pt>
                <c:pt idx="11">
                  <c:v>250.74530415689628</c:v>
                </c:pt>
                <c:pt idx="12">
                  <c:v>233.52264403446597</c:v>
                </c:pt>
                <c:pt idx="13">
                  <c:v>197.81904725098033</c:v>
                </c:pt>
                <c:pt idx="14">
                  <c:v>188.95493842084497</c:v>
                </c:pt>
                <c:pt idx="15">
                  <c:v>169.04720604188444</c:v>
                </c:pt>
                <c:pt idx="16">
                  <c:v>140.80339159453297</c:v>
                </c:pt>
                <c:pt idx="17">
                  <c:v>101.31373058322016</c:v>
                </c:pt>
                <c:pt idx="18">
                  <c:v>64.396795708917494</c:v>
                </c:pt>
                <c:pt idx="19">
                  <c:v>46.679812660598778</c:v>
                </c:pt>
                <c:pt idx="20">
                  <c:v>35.490139156397483</c:v>
                </c:pt>
                <c:pt idx="21">
                  <c:v>27.221464759718611</c:v>
                </c:pt>
                <c:pt idx="22">
                  <c:v>18.919086527183715</c:v>
                </c:pt>
                <c:pt idx="23">
                  <c:v>11.257081175913353</c:v>
                </c:pt>
                <c:pt idx="24">
                  <c:v>7.6283015154143374</c:v>
                </c:pt>
                <c:pt idx="25">
                  <c:v>7.1002747536698987</c:v>
                </c:pt>
                <c:pt idx="26">
                  <c:v>12.245727027690174</c:v>
                </c:pt>
                <c:pt idx="27">
                  <c:v>24.626269398804457</c:v>
                </c:pt>
                <c:pt idx="28">
                  <c:v>28.423568238583613</c:v>
                </c:pt>
                <c:pt idx="29">
                  <c:v>36.523723455982342</c:v>
                </c:pt>
                <c:pt idx="30">
                  <c:v>41.186087416066215</c:v>
                </c:pt>
                <c:pt idx="31">
                  <c:v>66.194333621238982</c:v>
                </c:pt>
                <c:pt idx="32">
                  <c:v>90.562206945147224</c:v>
                </c:pt>
                <c:pt idx="33">
                  <c:v>106.00979837916006</c:v>
                </c:pt>
                <c:pt idx="34">
                  <c:v>127.00728811746551</c:v>
                </c:pt>
                <c:pt idx="35">
                  <c:v>157.84629792573111</c:v>
                </c:pt>
                <c:pt idx="36">
                  <c:v>154.31862977280019</c:v>
                </c:pt>
                <c:pt idx="37">
                  <c:v>131.95051737634961</c:v>
                </c:pt>
                <c:pt idx="38">
                  <c:v>141.46623369970152</c:v>
                </c:pt>
                <c:pt idx="39">
                  <c:v>143.55587152277528</c:v>
                </c:pt>
                <c:pt idx="40">
                  <c:v>172.47376268724727</c:v>
                </c:pt>
                <c:pt idx="41">
                  <c:v>268.19265651836679</c:v>
                </c:pt>
                <c:pt idx="42">
                  <c:v>389.21189646541131</c:v>
                </c:pt>
                <c:pt idx="43">
                  <c:v>637.59793211238571</c:v>
                </c:pt>
                <c:pt idx="44">
                  <c:v>891.039543137764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6</c:f>
              <c:strCache>
                <c:ptCount val="45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</c:strCache>
            </c:strRef>
          </c:cat>
          <c:val>
            <c:numRef>
              <c:f>List1!$L$2:$L$46</c:f>
              <c:numCache>
                <c:formatCode>General</c:formatCode>
                <c:ptCount val="45"/>
                <c:pt idx="0">
                  <c:v>793.99062601859737</c:v>
                </c:pt>
                <c:pt idx="1">
                  <c:v>546.98964230204695</c:v>
                </c:pt>
                <c:pt idx="2">
                  <c:v>697.4145422584952</c:v>
                </c:pt>
                <c:pt idx="3">
                  <c:v>580.24435526440425</c:v>
                </c:pt>
                <c:pt idx="4">
                  <c:v>665.62560176830789</c:v>
                </c:pt>
                <c:pt idx="5">
                  <c:v>623.6861869083433</c:v>
                </c:pt>
                <c:pt idx="6">
                  <c:v>666.24855506898018</c:v>
                </c:pt>
                <c:pt idx="7">
                  <c:v>679.91688337196558</c:v>
                </c:pt>
                <c:pt idx="8">
                  <c:v>611.55691970113628</c:v>
                </c:pt>
                <c:pt idx="9">
                  <c:v>520.78895936200786</c:v>
                </c:pt>
                <c:pt idx="10">
                  <c:v>430.47905292043254</c:v>
                </c:pt>
                <c:pt idx="11">
                  <c:v>349.55009030074535</c:v>
                </c:pt>
                <c:pt idx="12">
                  <c:v>271.71757202851734</c:v>
                </c:pt>
                <c:pt idx="13">
                  <c:v>215.57848634440558</c:v>
                </c:pt>
                <c:pt idx="14">
                  <c:v>179.04410747556787</c:v>
                </c:pt>
                <c:pt idx="15">
                  <c:v>152.36704848207353</c:v>
                </c:pt>
                <c:pt idx="16">
                  <c:v>125.61670086497065</c:v>
                </c:pt>
                <c:pt idx="17">
                  <c:v>90.914537586345446</c:v>
                </c:pt>
                <c:pt idx="18">
                  <c:v>68.506540918046284</c:v>
                </c:pt>
                <c:pt idx="19">
                  <c:v>44.834315492500465</c:v>
                </c:pt>
                <c:pt idx="20">
                  <c:v>34.409008784191201</c:v>
                </c:pt>
                <c:pt idx="21">
                  <c:v>26.273971563647599</c:v>
                </c:pt>
                <c:pt idx="22">
                  <c:v>18.358800213929491</c:v>
                </c:pt>
                <c:pt idx="23">
                  <c:v>9.5275210691051253</c:v>
                </c:pt>
                <c:pt idx="24">
                  <c:v>7.1273186459267199</c:v>
                </c:pt>
                <c:pt idx="25">
                  <c:v>4.1774515456845549</c:v>
                </c:pt>
                <c:pt idx="26">
                  <c:v>4.2873844810973063</c:v>
                </c:pt>
                <c:pt idx="27">
                  <c:v>3.9392635189569267</c:v>
                </c:pt>
                <c:pt idx="28">
                  <c:v>5.8264455768758268</c:v>
                </c:pt>
                <c:pt idx="29">
                  <c:v>7.6586611670883515</c:v>
                </c:pt>
                <c:pt idx="30">
                  <c:v>7.7319497906968531</c:v>
                </c:pt>
                <c:pt idx="31">
                  <c:v>10.388662396505012</c:v>
                </c:pt>
                <c:pt idx="32">
                  <c:v>12.40409954573879</c:v>
                </c:pt>
                <c:pt idx="33">
                  <c:v>14.987523527938448</c:v>
                </c:pt>
                <c:pt idx="34">
                  <c:v>31.349208748536288</c:v>
                </c:pt>
                <c:pt idx="35">
                  <c:v>56.249018619524492</c:v>
                </c:pt>
                <c:pt idx="36">
                  <c:v>90.236617817966817</c:v>
                </c:pt>
                <c:pt idx="37">
                  <c:v>120.19334271794159</c:v>
                </c:pt>
                <c:pt idx="38">
                  <c:v>160.02570964916185</c:v>
                </c:pt>
                <c:pt idx="39">
                  <c:v>200.53599634876079</c:v>
                </c:pt>
                <c:pt idx="40">
                  <c:v>246.39635257178026</c:v>
                </c:pt>
                <c:pt idx="41">
                  <c:v>411.77213174436264</c:v>
                </c:pt>
                <c:pt idx="42">
                  <c:v>601.80953276120567</c:v>
                </c:pt>
                <c:pt idx="43">
                  <c:v>780.41390849512254</c:v>
                </c:pt>
                <c:pt idx="44">
                  <c:v>923.913033520567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M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M$2:$M$46</c:f>
              <c:numCache>
                <c:formatCode>General</c:formatCode>
                <c:ptCount val="45"/>
                <c:pt idx="0">
                  <c:v>395.54544779631226</c:v>
                </c:pt>
                <c:pt idx="1">
                  <c:v>505.33866563972151</c:v>
                </c:pt>
                <c:pt idx="2">
                  <c:v>502.93017833327355</c:v>
                </c:pt>
                <c:pt idx="3">
                  <c:v>378.1663104429432</c:v>
                </c:pt>
                <c:pt idx="4">
                  <c:v>235.80147084207096</c:v>
                </c:pt>
                <c:pt idx="5">
                  <c:v>140.00283187402243</c:v>
                </c:pt>
                <c:pt idx="6">
                  <c:v>97.659934860136815</c:v>
                </c:pt>
                <c:pt idx="7">
                  <c:v>77.616672512530144</c:v>
                </c:pt>
                <c:pt idx="8">
                  <c:v>70.355294554405987</c:v>
                </c:pt>
                <c:pt idx="9">
                  <c:v>69.115134862401646</c:v>
                </c:pt>
                <c:pt idx="10">
                  <c:v>75.668755585736292</c:v>
                </c:pt>
                <c:pt idx="11">
                  <c:v>92.67183088599333</c:v>
                </c:pt>
                <c:pt idx="12">
                  <c:v>102.55296696692054</c:v>
                </c:pt>
                <c:pt idx="13">
                  <c:v>124.36245333925567</c:v>
                </c:pt>
                <c:pt idx="14">
                  <c:v>123.55539882077926</c:v>
                </c:pt>
                <c:pt idx="15">
                  <c:v>119.41026540389255</c:v>
                </c:pt>
                <c:pt idx="16">
                  <c:v>104.90652386111616</c:v>
                </c:pt>
                <c:pt idx="17">
                  <c:v>84.694244860425414</c:v>
                </c:pt>
                <c:pt idx="18">
                  <c:v>71.29122427085899</c:v>
                </c:pt>
                <c:pt idx="19">
                  <c:v>67.777790594873977</c:v>
                </c:pt>
                <c:pt idx="20">
                  <c:v>63.922098196393719</c:v>
                </c:pt>
                <c:pt idx="21">
                  <c:v>58.724836114058689</c:v>
                </c:pt>
                <c:pt idx="22">
                  <c:v>49.403567696472457</c:v>
                </c:pt>
                <c:pt idx="23">
                  <c:v>51.780364380467134</c:v>
                </c:pt>
                <c:pt idx="24">
                  <c:v>75.736362246969918</c:v>
                </c:pt>
                <c:pt idx="25">
                  <c:v>190.20077783999</c:v>
                </c:pt>
                <c:pt idx="26">
                  <c:v>306.81593034350482</c:v>
                </c:pt>
                <c:pt idx="27">
                  <c:v>390.36720008744925</c:v>
                </c:pt>
                <c:pt idx="28">
                  <c:v>389.97001095270167</c:v>
                </c:pt>
                <c:pt idx="29">
                  <c:v>314.20407079144201</c:v>
                </c:pt>
                <c:pt idx="30">
                  <c:v>235.41273253997764</c:v>
                </c:pt>
                <c:pt idx="31">
                  <c:v>174.55406118073259</c:v>
                </c:pt>
                <c:pt idx="32">
                  <c:v>135.05909477131351</c:v>
                </c:pt>
                <c:pt idx="33">
                  <c:v>95.562015653730853</c:v>
                </c:pt>
                <c:pt idx="34">
                  <c:v>62.757995998277217</c:v>
                </c:pt>
                <c:pt idx="35">
                  <c:v>44.151375201885109</c:v>
                </c:pt>
                <c:pt idx="36">
                  <c:v>35.586456306850074</c:v>
                </c:pt>
                <c:pt idx="37">
                  <c:v>29.533547418276964</c:v>
                </c:pt>
                <c:pt idx="38">
                  <c:v>24.065858691007431</c:v>
                </c:pt>
                <c:pt idx="39">
                  <c:v>22.764430462260123</c:v>
                </c:pt>
                <c:pt idx="40">
                  <c:v>24.59403573189514</c:v>
                </c:pt>
                <c:pt idx="41">
                  <c:v>26.018001034128392</c:v>
                </c:pt>
                <c:pt idx="42">
                  <c:v>27.218019271025259</c:v>
                </c:pt>
                <c:pt idx="43">
                  <c:v>21.777795749881889</c:v>
                </c:pt>
                <c:pt idx="44">
                  <c:v>34.6927807536680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ser>
          <c:idx val="8"/>
          <c:order val="11"/>
          <c:tx>
            <c:strRef>
              <c:f>List1!$H$1</c:f>
              <c:strCache>
                <c:ptCount val="1"/>
                <c:pt idx="0">
                  <c:v>Velká Británi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6</c:f>
              <c:strCache>
                <c:ptCount val="45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</c:strCache>
            </c:strRef>
          </c:cat>
          <c:val>
            <c:numRef>
              <c:f>List1!$H$2:$H$46</c:f>
              <c:numCache>
                <c:formatCode>General</c:formatCode>
                <c:ptCount val="45"/>
                <c:pt idx="0">
                  <c:v>613.53341249011919</c:v>
                </c:pt>
                <c:pt idx="1">
                  <c:v>475.47847694021954</c:v>
                </c:pt>
                <c:pt idx="2">
                  <c:v>369.53350905217076</c:v>
                </c:pt>
                <c:pt idx="3">
                  <c:v>249.35842142379863</c:v>
                </c:pt>
                <c:pt idx="4">
                  <c:v>209.53318698275956</c:v>
                </c:pt>
                <c:pt idx="5">
                  <c:v>115.03696385636273</c:v>
                </c:pt>
                <c:pt idx="6">
                  <c:v>113.76896247939847</c:v>
                </c:pt>
                <c:pt idx="7">
                  <c:v>89.69309855942555</c:v>
                </c:pt>
                <c:pt idx="8">
                  <c:v>61.660423853630149</c:v>
                </c:pt>
                <c:pt idx="9">
                  <c:v>58.651308187323266</c:v>
                </c:pt>
                <c:pt idx="10">
                  <c:v>56.04624857972459</c:v>
                </c:pt>
                <c:pt idx="11">
                  <c:v>53.569017616153587</c:v>
                </c:pt>
                <c:pt idx="12">
                  <c:v>38.710039719004428</c:v>
                </c:pt>
                <c:pt idx="13">
                  <c:v>20.50400836099244</c:v>
                </c:pt>
                <c:pt idx="14">
                  <c:v>21.270980225158549</c:v>
                </c:pt>
                <c:pt idx="15">
                  <c:v>25.069107177015621</c:v>
                </c:pt>
                <c:pt idx="16">
                  <c:v>22.50812641218511</c:v>
                </c:pt>
                <c:pt idx="17">
                  <c:v>21.53839187128543</c:v>
                </c:pt>
                <c:pt idx="18">
                  <c:v>23.386764678030573</c:v>
                </c:pt>
                <c:pt idx="19">
                  <c:v>17.28037565988048</c:v>
                </c:pt>
                <c:pt idx="20">
                  <c:v>31.616284622847388</c:v>
                </c:pt>
                <c:pt idx="21">
                  <c:v>48.245762704517936</c:v>
                </c:pt>
                <c:pt idx="22">
                  <c:v>83.05482483853956</c:v>
                </c:pt>
                <c:pt idx="23">
                  <c:v>83.192938545879827</c:v>
                </c:pt>
                <c:pt idx="24">
                  <c:v>150.44696754679038</c:v>
                </c:pt>
                <c:pt idx="25">
                  <c:v>291.0658224510384</c:v>
                </c:pt>
                <c:pt idx="26">
                  <c:v>280.21214206675677</c:v>
                </c:pt>
                <c:pt idx="27">
                  <c:v>459.43965535164244</c:v>
                </c:pt>
                <c:pt idx="28">
                  <c:v>387.85414540137998</c:v>
                </c:pt>
                <c:pt idx="29">
                  <c:v>268.52096366987985</c:v>
                </c:pt>
                <c:pt idx="30">
                  <c:v>313.80609743513588</c:v>
                </c:pt>
                <c:pt idx="31">
                  <c:v>254.47303647966498</c:v>
                </c:pt>
                <c:pt idx="32">
                  <c:v>331.2804200031963</c:v>
                </c:pt>
                <c:pt idx="33">
                  <c:v>350.45177801783115</c:v>
                </c:pt>
                <c:pt idx="34">
                  <c:v>362.47942491450505</c:v>
                </c:pt>
                <c:pt idx="35">
                  <c:v>364.60549443068965</c:v>
                </c:pt>
                <c:pt idx="36">
                  <c:v>298.95740460129929</c:v>
                </c:pt>
                <c:pt idx="37">
                  <c:v>344.52611225503057</c:v>
                </c:pt>
                <c:pt idx="38">
                  <c:v>347.41474575110442</c:v>
                </c:pt>
                <c:pt idx="39">
                  <c:v>430.63413160264514</c:v>
                </c:pt>
                <c:pt idx="40">
                  <c:v>375.25200425396093</c:v>
                </c:pt>
                <c:pt idx="41">
                  <c:v>476.79937292850559</c:v>
                </c:pt>
                <c:pt idx="42">
                  <c:v>459.33827401327562</c:v>
                </c:pt>
                <c:pt idx="43">
                  <c:v>316.79464297481763</c:v>
                </c:pt>
                <c:pt idx="44">
                  <c:v>380.826508569375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54363240"/>
        <c:axId val="354365200"/>
      </c:lineChart>
      <c:catAx>
        <c:axId val="3543632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5200"/>
        <c:crosses val="autoZero"/>
        <c:auto val="1"/>
        <c:lblAlgn val="ctr"/>
        <c:lblOffset val="100"/>
        <c:tickLblSkip val="1"/>
        <c:noMultiLvlLbl val="1"/>
      </c:catAx>
      <c:valAx>
        <c:axId val="3543652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32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7.4950401637673789E-2"/>
          <c:y val="1.0209435626102294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8.196552666510501E-2"/>
          <c:w val="0.91393290618325784"/>
          <c:h val="0.7099504177402983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% změna 43. vs. 42. týden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13-493D-97B1-A5AA545BC174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813-493D-97B1-A5AA545BC174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813-493D-97B1-A5AA545BC174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813-493D-97B1-A5AA545BC174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1C9C-4C43-B6C0-8405007F8E99}"/>
              </c:ext>
            </c:extLst>
          </c:dPt>
          <c:dPt>
            <c:idx val="16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1C9C-4C43-B6C0-8405007F8E99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DA68-4805-8D52-B9B59E53E580}"/>
              </c:ext>
            </c:extLst>
          </c:dPt>
          <c:dPt>
            <c:idx val="2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DA68-4805-8D52-B9B59E53E580}"/>
              </c:ext>
            </c:extLst>
          </c:dPt>
          <c:cat>
            <c:strRef>
              <c:f>List1!$A$2:$A$32</c:f>
              <c:strCache>
                <c:ptCount val="31"/>
                <c:pt idx="0">
                  <c:v>Španělsko</c:v>
                </c:pt>
                <c:pt idx="1">
                  <c:v>Itálie</c:v>
                </c:pt>
                <c:pt idx="2">
                  <c:v>Německo</c:v>
                </c:pt>
                <c:pt idx="3">
                  <c:v>Portugalsko</c:v>
                </c:pt>
                <c:pt idx="4">
                  <c:v>Česká republika</c:v>
                </c:pt>
                <c:pt idx="5">
                  <c:v>Maďarsko</c:v>
                </c:pt>
                <c:pt idx="6">
                  <c:v>Dánsko</c:v>
                </c:pt>
                <c:pt idx="7">
                  <c:v>Island</c:v>
                </c:pt>
                <c:pt idx="8">
                  <c:v>Rakousko</c:v>
                </c:pt>
                <c:pt idx="9">
                  <c:v>Francie</c:v>
                </c:pt>
                <c:pt idx="10">
                  <c:v>Nizozemsko</c:v>
                </c:pt>
                <c:pt idx="11">
                  <c:v>Lichtenštejnsko</c:v>
                </c:pt>
                <c:pt idx="12">
                  <c:v>Belgie</c:v>
                </c:pt>
                <c:pt idx="13">
                  <c:v>Polsko</c:v>
                </c:pt>
                <c:pt idx="14">
                  <c:v>Malta</c:v>
                </c:pt>
                <c:pt idx="15">
                  <c:v>Norsko</c:v>
                </c:pt>
                <c:pt idx="16">
                  <c:v>Lucembursko</c:v>
                </c:pt>
                <c:pt idx="17">
                  <c:v>Velká Británie</c:v>
                </c:pt>
                <c:pt idx="18">
                  <c:v>Slovensko</c:v>
                </c:pt>
                <c:pt idx="19">
                  <c:v>Švédsko</c:v>
                </c:pt>
                <c:pt idx="20">
                  <c:v>Kypr</c:v>
                </c:pt>
                <c:pt idx="21">
                  <c:v>Slovinsko</c:v>
                </c:pt>
                <c:pt idx="22">
                  <c:v>Irsko</c:v>
                </c:pt>
                <c:pt idx="23">
                  <c:v>Řecko</c:v>
                </c:pt>
                <c:pt idx="24">
                  <c:v>Finsko</c:v>
                </c:pt>
                <c:pt idx="25">
                  <c:v>Chorvatsko</c:v>
                </c:pt>
                <c:pt idx="26">
                  <c:v>Litva</c:v>
                </c:pt>
                <c:pt idx="27">
                  <c:v>Bulharsko</c:v>
                </c:pt>
                <c:pt idx="28">
                  <c:v>Lotyšsko</c:v>
                </c:pt>
                <c:pt idx="29">
                  <c:v>Estonsko</c:v>
                </c:pt>
                <c:pt idx="30">
                  <c:v>Rumunsko</c:v>
                </c:pt>
              </c:strCache>
            </c:strRef>
          </c:cat>
          <c:val>
            <c:numRef>
              <c:f>List1!$B$2:$B$32</c:f>
              <c:numCache>
                <c:formatCode>General</c:formatCode>
                <c:ptCount val="31"/>
                <c:pt idx="0">
                  <c:v>1.0461226146975233</c:v>
                </c:pt>
                <c:pt idx="1">
                  <c:v>1.2502570592422684</c:v>
                </c:pt>
                <c:pt idx="2">
                  <c:v>1.4044322468572368</c:v>
                </c:pt>
                <c:pt idx="3">
                  <c:v>1.087172624737144</c:v>
                </c:pt>
                <c:pt idx="4">
                  <c:v>1.5953254960271364</c:v>
                </c:pt>
                <c:pt idx="5">
                  <c:v>1.7076400198258161</c:v>
                </c:pt>
                <c:pt idx="6">
                  <c:v>1.3697081554965971</c:v>
                </c:pt>
                <c:pt idx="7">
                  <c:v>1.1447619047619049</c:v>
                </c:pt>
                <c:pt idx="8">
                  <c:v>1.4512399463806971</c:v>
                </c:pt>
                <c:pt idx="9">
                  <c:v>1.1023429239245368</c:v>
                </c:pt>
                <c:pt idx="10">
                  <c:v>1.4202399403019343</c:v>
                </c:pt>
                <c:pt idx="11">
                  <c:v>1.0888888888888888</c:v>
                </c:pt>
                <c:pt idx="12">
                  <c:v>1.3621151774755142</c:v>
                </c:pt>
                <c:pt idx="13">
                  <c:v>1.5616008746691219</c:v>
                </c:pt>
                <c:pt idx="14">
                  <c:v>1.0909090909090908</c:v>
                </c:pt>
                <c:pt idx="15">
                  <c:v>1.5901751193995906</c:v>
                </c:pt>
                <c:pt idx="16">
                  <c:v>1.0810580204778157</c:v>
                </c:pt>
                <c:pt idx="17">
                  <c:v>0.96337851954799403</c:v>
                </c:pt>
                <c:pt idx="18">
                  <c:v>1.4615110794696093</c:v>
                </c:pt>
                <c:pt idx="19">
                  <c:v>1.138760585065435</c:v>
                </c:pt>
                <c:pt idx="20">
                  <c:v>1.1266233766233766</c:v>
                </c:pt>
                <c:pt idx="21">
                  <c:v>1.360112174199934</c:v>
                </c:pt>
                <c:pt idx="22">
                  <c:v>1.1152847152847152</c:v>
                </c:pt>
                <c:pt idx="23">
                  <c:v>1.1794940079893474</c:v>
                </c:pt>
                <c:pt idx="24">
                  <c:v>1.1304228445908842</c:v>
                </c:pt>
                <c:pt idx="25">
                  <c:v>1.4330970065271214</c:v>
                </c:pt>
                <c:pt idx="26">
                  <c:v>1.0199941905499612</c:v>
                </c:pt>
                <c:pt idx="27">
                  <c:v>1.1584311520348634</c:v>
                </c:pt>
                <c:pt idx="28">
                  <c:v>0.97694167600401016</c:v>
                </c:pt>
                <c:pt idx="29">
                  <c:v>1.2080120180270406</c:v>
                </c:pt>
                <c:pt idx="30">
                  <c:v>0.8090421736698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1C9C-4C43-B6C0-8405007F8E99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% změna 45. vs. 44. týden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  <a:effectLst/>
          </c:spPr>
          <c:invertIfNegative val="0"/>
          <c:cat>
            <c:strRef>
              <c:f>List1!$A$2:$A$32</c:f>
              <c:strCache>
                <c:ptCount val="31"/>
                <c:pt idx="0">
                  <c:v>Španělsko</c:v>
                </c:pt>
                <c:pt idx="1">
                  <c:v>Itálie</c:v>
                </c:pt>
                <c:pt idx="2">
                  <c:v>Německo</c:v>
                </c:pt>
                <c:pt idx="3">
                  <c:v>Portugalsko</c:v>
                </c:pt>
                <c:pt idx="4">
                  <c:v>Česká republika</c:v>
                </c:pt>
                <c:pt idx="5">
                  <c:v>Maďarsko</c:v>
                </c:pt>
                <c:pt idx="6">
                  <c:v>Dánsko</c:v>
                </c:pt>
                <c:pt idx="7">
                  <c:v>Island</c:v>
                </c:pt>
                <c:pt idx="8">
                  <c:v>Rakousko</c:v>
                </c:pt>
                <c:pt idx="9">
                  <c:v>Francie</c:v>
                </c:pt>
                <c:pt idx="10">
                  <c:v>Nizozemsko</c:v>
                </c:pt>
                <c:pt idx="11">
                  <c:v>Lichtenštejnsko</c:v>
                </c:pt>
                <c:pt idx="12">
                  <c:v>Belgie</c:v>
                </c:pt>
                <c:pt idx="13">
                  <c:v>Polsko</c:v>
                </c:pt>
                <c:pt idx="14">
                  <c:v>Malta</c:v>
                </c:pt>
                <c:pt idx="15">
                  <c:v>Norsko</c:v>
                </c:pt>
                <c:pt idx="16">
                  <c:v>Lucembursko</c:v>
                </c:pt>
                <c:pt idx="17">
                  <c:v>Velká Británie</c:v>
                </c:pt>
                <c:pt idx="18">
                  <c:v>Slovensko</c:v>
                </c:pt>
                <c:pt idx="19">
                  <c:v>Švédsko</c:v>
                </c:pt>
                <c:pt idx="20">
                  <c:v>Kypr</c:v>
                </c:pt>
                <c:pt idx="21">
                  <c:v>Slovinsko</c:v>
                </c:pt>
                <c:pt idx="22">
                  <c:v>Irsko</c:v>
                </c:pt>
                <c:pt idx="23">
                  <c:v>Řecko</c:v>
                </c:pt>
                <c:pt idx="24">
                  <c:v>Finsko</c:v>
                </c:pt>
                <c:pt idx="25">
                  <c:v>Chorvatsko</c:v>
                </c:pt>
                <c:pt idx="26">
                  <c:v>Litva</c:v>
                </c:pt>
                <c:pt idx="27">
                  <c:v>Bulharsko</c:v>
                </c:pt>
                <c:pt idx="28">
                  <c:v>Lotyšsko</c:v>
                </c:pt>
                <c:pt idx="29">
                  <c:v>Estonsko</c:v>
                </c:pt>
                <c:pt idx="30">
                  <c:v>Rumunsko</c:v>
                </c:pt>
              </c:strCache>
            </c:strRef>
          </c:cat>
          <c:val>
            <c:numRef>
              <c:f>List1!$C$2:$C$32</c:f>
              <c:numCache>
                <c:formatCode>General</c:formatCode>
                <c:ptCount val="31"/>
                <c:pt idx="0">
                  <c:v>1.5930345362824991</c:v>
                </c:pt>
                <c:pt idx="1">
                  <c:v>1.5181336675696437</c:v>
                </c:pt>
                <c:pt idx="2">
                  <c:v>1.5100710866429519</c:v>
                </c:pt>
                <c:pt idx="3">
                  <c:v>1.4827188940092166</c:v>
                </c:pt>
                <c:pt idx="4">
                  <c:v>1.4388370611816717</c:v>
                </c:pt>
                <c:pt idx="5">
                  <c:v>1.4376555078036644</c:v>
                </c:pt>
                <c:pt idx="6">
                  <c:v>1.4208745771206617</c:v>
                </c:pt>
                <c:pt idx="7">
                  <c:v>1.4207980652962515</c:v>
                </c:pt>
                <c:pt idx="8">
                  <c:v>1.3974944055820837</c:v>
                </c:pt>
                <c:pt idx="9">
                  <c:v>1.3838792483827909</c:v>
                </c:pt>
                <c:pt idx="10">
                  <c:v>1.3635533921508975</c:v>
                </c:pt>
                <c:pt idx="11">
                  <c:v>1.3577981651376148</c:v>
                </c:pt>
                <c:pt idx="12">
                  <c:v>1.284691285298774</c:v>
                </c:pt>
                <c:pt idx="13">
                  <c:v>1.2593202428055343</c:v>
                </c:pt>
                <c:pt idx="14">
                  <c:v>1.2461538461538462</c:v>
                </c:pt>
                <c:pt idx="15">
                  <c:v>1.2082077922077923</c:v>
                </c:pt>
                <c:pt idx="16">
                  <c:v>1.2068463219227967</c:v>
                </c:pt>
                <c:pt idx="17">
                  <c:v>1.2021242057418486</c:v>
                </c:pt>
                <c:pt idx="18">
                  <c:v>1.1838756632389538</c:v>
                </c:pt>
                <c:pt idx="19">
                  <c:v>1.1521910777733912</c:v>
                </c:pt>
                <c:pt idx="20">
                  <c:v>1.1292008961911875</c:v>
                </c:pt>
                <c:pt idx="21">
                  <c:v>1.1257508811994241</c:v>
                </c:pt>
                <c:pt idx="22">
                  <c:v>1.1100374908205466</c:v>
                </c:pt>
                <c:pt idx="23">
                  <c:v>1.0706873737725469</c:v>
                </c:pt>
                <c:pt idx="24">
                  <c:v>1.0458120330318521</c:v>
                </c:pt>
                <c:pt idx="25">
                  <c:v>0.9958835825695449</c:v>
                </c:pt>
                <c:pt idx="26">
                  <c:v>0.87437130381915662</c:v>
                </c:pt>
                <c:pt idx="27">
                  <c:v>0.76508811656985332</c:v>
                </c:pt>
                <c:pt idx="28">
                  <c:v>0.671344107213244</c:v>
                </c:pt>
                <c:pt idx="29">
                  <c:v>0.64051042757832588</c:v>
                </c:pt>
                <c:pt idx="30">
                  <c:v>0.544098515495518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1C9C-4C43-B6C0-8405007F8E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4367552"/>
        <c:axId val="354365592"/>
      </c:barChart>
      <c:catAx>
        <c:axId val="3543675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5592"/>
        <c:crosses val="autoZero"/>
        <c:auto val="1"/>
        <c:lblAlgn val="ctr"/>
        <c:lblOffset val="100"/>
        <c:noMultiLvlLbl val="0"/>
      </c:catAx>
      <c:valAx>
        <c:axId val="354365592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75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8487393863624522E-2"/>
          <c:y val="4.725794487389709E-2"/>
          <c:w val="0.90731728915976451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testy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132-4A67-A35E-085191B53D6A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2A8A-46CC-A262-51EDB77F67BD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132-4A67-A35E-085191B53D6A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C132-4A67-A35E-085191B53D6A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2A8A-46CC-A262-51EDB77F67BD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2A8A-46CC-A262-51EDB77F67BD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C132-4A67-A35E-085191B53D6A}"/>
              </c:ext>
            </c:extLst>
          </c:dPt>
          <c:dPt>
            <c:idx val="2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C132-4A67-A35E-085191B53D6A}"/>
              </c:ext>
            </c:extLst>
          </c:dPt>
          <c:dPt>
            <c:idx val="2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C132-4A67-A35E-085191B53D6A}"/>
              </c:ext>
            </c:extLst>
          </c:dPt>
          <c:dPt>
            <c:idx val="2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C132-4A67-A35E-085191B53D6A}"/>
              </c:ext>
            </c:extLst>
          </c:dPt>
          <c:dPt>
            <c:idx val="2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2A79-4038-AF5E-B780796E0BB4}"/>
              </c:ext>
            </c:extLst>
          </c:dPt>
          <c:cat>
            <c:strRef>
              <c:f>List1!$A$2:$A$30</c:f>
              <c:strCache>
                <c:ptCount val="29"/>
                <c:pt idx="0">
                  <c:v>Kypr</c:v>
                </c:pt>
                <c:pt idx="1">
                  <c:v>Rakousko</c:v>
                </c:pt>
                <c:pt idx="2">
                  <c:v>Dánsko</c:v>
                </c:pt>
                <c:pt idx="3">
                  <c:v>Řecko</c:v>
                </c:pt>
                <c:pt idx="4">
                  <c:v>Lucembursko</c:v>
                </c:pt>
                <c:pt idx="5">
                  <c:v>Slovinsko</c:v>
                </c:pt>
                <c:pt idx="6">
                  <c:v>Česká republika</c:v>
                </c:pt>
                <c:pt idx="7">
                  <c:v>Island</c:v>
                </c:pt>
                <c:pt idx="8">
                  <c:v>Lotyšsko</c:v>
                </c:pt>
                <c:pt idx="9">
                  <c:v>Malta</c:v>
                </c:pt>
                <c:pt idx="10">
                  <c:v>Francie</c:v>
                </c:pt>
                <c:pt idx="11">
                  <c:v>Litva</c:v>
                </c:pt>
                <c:pt idx="12">
                  <c:v>Norsko</c:v>
                </c:pt>
                <c:pt idx="13">
                  <c:v>Portugalsko</c:v>
                </c:pt>
                <c:pt idx="14">
                  <c:v>Belgie</c:v>
                </c:pt>
                <c:pt idx="15">
                  <c:v>Itálie</c:v>
                </c:pt>
                <c:pt idx="16">
                  <c:v>Slovensko</c:v>
                </c:pt>
                <c:pt idx="17">
                  <c:v>Nizozemsko</c:v>
                </c:pt>
                <c:pt idx="18">
                  <c:v>Irsko</c:v>
                </c:pt>
                <c:pt idx="19">
                  <c:v>Estonsko</c:v>
                </c:pt>
                <c:pt idx="20">
                  <c:v>Finsko</c:v>
                </c:pt>
                <c:pt idx="21">
                  <c:v>Švédsko</c:v>
                </c:pt>
                <c:pt idx="22">
                  <c:v>Španělsko</c:v>
                </c:pt>
                <c:pt idx="23">
                  <c:v>Chorvatsko</c:v>
                </c:pt>
                <c:pt idx="24">
                  <c:v>Německo</c:v>
                </c:pt>
                <c:pt idx="25">
                  <c:v>Bulharsko</c:v>
                </c:pt>
                <c:pt idx="26">
                  <c:v>Maďarsko</c:v>
                </c:pt>
                <c:pt idx="27">
                  <c:v>Rumunsko</c:v>
                </c:pt>
                <c:pt idx="28">
                  <c:v>Polsko</c:v>
                </c:pt>
              </c:strCache>
            </c:strRef>
          </c:cat>
          <c:val>
            <c:numRef>
              <c:f>List1!$B$2:$B$30</c:f>
              <c:numCache>
                <c:formatCode>General</c:formatCode>
                <c:ptCount val="29"/>
                <c:pt idx="0">
                  <c:v>1658031.7678391449</c:v>
                </c:pt>
                <c:pt idx="1">
                  <c:v>1543923.8612372633</c:v>
                </c:pt>
                <c:pt idx="2">
                  <c:v>1495990.8208525747</c:v>
                </c:pt>
                <c:pt idx="3" formatCode="0">
                  <c:v>715649.63220356463</c:v>
                </c:pt>
                <c:pt idx="4" formatCode="0">
                  <c:v>580422.54690883995</c:v>
                </c:pt>
                <c:pt idx="5" formatCode="0">
                  <c:v>437248.3194257635</c:v>
                </c:pt>
                <c:pt idx="6">
                  <c:v>392371.71635259938</c:v>
                </c:pt>
                <c:pt idx="7" formatCode="0">
                  <c:v>323101.66037777305</c:v>
                </c:pt>
                <c:pt idx="8">
                  <c:v>265472.63029604097</c:v>
                </c:pt>
                <c:pt idx="9">
                  <c:v>258260.97433944076</c:v>
                </c:pt>
                <c:pt idx="10">
                  <c:v>219885.17980988062</c:v>
                </c:pt>
                <c:pt idx="11">
                  <c:v>211955.12671388537</c:v>
                </c:pt>
                <c:pt idx="12">
                  <c:v>211385.55922780844</c:v>
                </c:pt>
                <c:pt idx="13">
                  <c:v>197586.88620888159</c:v>
                </c:pt>
                <c:pt idx="14">
                  <c:v>196419.86419543083</c:v>
                </c:pt>
                <c:pt idx="15">
                  <c:v>185253.84544396345</c:v>
                </c:pt>
                <c:pt idx="16">
                  <c:v>182267.87248439089</c:v>
                </c:pt>
                <c:pt idx="17">
                  <c:v>179890.61664785782</c:v>
                </c:pt>
                <c:pt idx="18">
                  <c:v>170830.82885481545</c:v>
                </c:pt>
                <c:pt idx="19">
                  <c:v>162026.77851217779</c:v>
                </c:pt>
                <c:pt idx="20">
                  <c:v>138906.36006205645</c:v>
                </c:pt>
                <c:pt idx="21">
                  <c:v>132764.53971977389</c:v>
                </c:pt>
                <c:pt idx="22">
                  <c:v>127731.56792058852</c:v>
                </c:pt>
                <c:pt idx="23" formatCode="0">
                  <c:v>117357.42632445945</c:v>
                </c:pt>
                <c:pt idx="24">
                  <c:v>98013.640337418168</c:v>
                </c:pt>
                <c:pt idx="25">
                  <c:v>86397.533648220618</c:v>
                </c:pt>
                <c:pt idx="26">
                  <c:v>77199.620534302288</c:v>
                </c:pt>
                <c:pt idx="27">
                  <c:v>76625.682309510783</c:v>
                </c:pt>
                <c:pt idx="28">
                  <c:v>62268.5733425596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4365984"/>
        <c:axId val="354367944"/>
      </c:barChart>
      <c:catAx>
        <c:axId val="3543659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7944"/>
        <c:crosses val="autoZero"/>
        <c:auto val="1"/>
        <c:lblAlgn val="ctr"/>
        <c:lblOffset val="100"/>
        <c:noMultiLvlLbl val="0"/>
      </c:catAx>
      <c:valAx>
        <c:axId val="354367944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5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5179585351877881E-2"/>
          <c:y val="4.725786302175191E-2"/>
          <c:w val="0.90731728915976451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testy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1C8-4C38-A27C-C7ACF4A14BBE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031-4F32-8B10-320319D083D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A43-4423-804C-AD52486F23B0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1C8-4C38-A27C-C7ACF4A14BBE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4031-4F32-8B10-320319D083D6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4031-4F32-8B10-320319D083D6}"/>
              </c:ext>
            </c:extLst>
          </c:dPt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4031-4F32-8B10-320319D083D6}"/>
              </c:ext>
            </c:extLst>
          </c:dPt>
          <c:dPt>
            <c:idx val="2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4031-4F32-8B10-320319D083D6}"/>
              </c:ext>
            </c:extLst>
          </c:dPt>
          <c:cat>
            <c:strRef>
              <c:f>List1!$A$2:$A$30</c:f>
              <c:strCache>
                <c:ptCount val="29"/>
                <c:pt idx="0">
                  <c:v>Chorvatsko</c:v>
                </c:pt>
                <c:pt idx="1">
                  <c:v>Maďarsko</c:v>
                </c:pt>
                <c:pt idx="2">
                  <c:v>Polsko</c:v>
                </c:pt>
                <c:pt idx="3">
                  <c:v>Německo</c:v>
                </c:pt>
                <c:pt idx="4">
                  <c:v>Belgie</c:v>
                </c:pt>
                <c:pt idx="5">
                  <c:v>Estonsko</c:v>
                </c:pt>
                <c:pt idx="6">
                  <c:v>Irsko</c:v>
                </c:pt>
                <c:pt idx="7">
                  <c:v>Lichtenštejnsko</c:v>
                </c:pt>
                <c:pt idx="8">
                  <c:v>Litva</c:v>
                </c:pt>
                <c:pt idx="9">
                  <c:v>Slovensko</c:v>
                </c:pt>
                <c:pt idx="10">
                  <c:v>Rumunsko</c:v>
                </c:pt>
                <c:pt idx="11">
                  <c:v>Bulharsko</c:v>
                </c:pt>
                <c:pt idx="12">
                  <c:v>Česká republika</c:v>
                </c:pt>
                <c:pt idx="13">
                  <c:v>Lotyšsko</c:v>
                </c:pt>
                <c:pt idx="14">
                  <c:v>Lucembursko</c:v>
                </c:pt>
                <c:pt idx="15">
                  <c:v>Norsko</c:v>
                </c:pt>
                <c:pt idx="16">
                  <c:v>Slovinsko</c:v>
                </c:pt>
                <c:pt idx="17">
                  <c:v>Nizozemsko</c:v>
                </c:pt>
                <c:pt idx="18">
                  <c:v>Finsko</c:v>
                </c:pt>
                <c:pt idx="19">
                  <c:v>Island</c:v>
                </c:pt>
                <c:pt idx="20">
                  <c:v>Portugalsko</c:v>
                </c:pt>
                <c:pt idx="21">
                  <c:v>Francie</c:v>
                </c:pt>
                <c:pt idx="22">
                  <c:v>Španělsko</c:v>
                </c:pt>
                <c:pt idx="23">
                  <c:v>Malta</c:v>
                </c:pt>
                <c:pt idx="24">
                  <c:v>Rakousko</c:v>
                </c:pt>
                <c:pt idx="25">
                  <c:v>Dánsko</c:v>
                </c:pt>
                <c:pt idx="26">
                  <c:v>Řecko</c:v>
                </c:pt>
                <c:pt idx="27">
                  <c:v>Itálie</c:v>
                </c:pt>
                <c:pt idx="28">
                  <c:v>Kypr</c:v>
                </c:pt>
              </c:strCache>
            </c:strRef>
          </c:cat>
          <c:val>
            <c:numRef>
              <c:f>List1!$B$2:$B$30</c:f>
              <c:numCache>
                <c:formatCode>0.0%</c:formatCode>
                <c:ptCount val="29"/>
                <c:pt idx="0">
                  <c:v>0.23224797266702343</c:v>
                </c:pt>
                <c:pt idx="1">
                  <c:v>0.21414183061894104</c:v>
                </c:pt>
                <c:pt idx="2">
                  <c:v>0.20805125356006079</c:v>
                </c:pt>
                <c:pt idx="3">
                  <c:v>0.18724343167952151</c:v>
                </c:pt>
                <c:pt idx="4">
                  <c:v>0.17616807571980944</c:v>
                </c:pt>
                <c:pt idx="5">
                  <c:v>0.16844791676852222</c:v>
                </c:pt>
                <c:pt idx="6">
                  <c:v>0.14476332404360429</c:v>
                </c:pt>
                <c:pt idx="7">
                  <c:v>0.14341517857142858</c:v>
                </c:pt>
                <c:pt idx="8">
                  <c:v>0.13678678315303761</c:v>
                </c:pt>
                <c:pt idx="9">
                  <c:v>0.13378417055108666</c:v>
                </c:pt>
                <c:pt idx="10">
                  <c:v>0.12984264948299115</c:v>
                </c:pt>
                <c:pt idx="11">
                  <c:v>0.10435086289688891</c:v>
                </c:pt>
                <c:pt idx="12">
                  <c:v>0.10061027679224854</c:v>
                </c:pt>
                <c:pt idx="13">
                  <c:v>9.0235836408442613E-2</c:v>
                </c:pt>
                <c:pt idx="14">
                  <c:v>8.3655438983986752E-2</c:v>
                </c:pt>
                <c:pt idx="15">
                  <c:v>7.8397090447683018E-2</c:v>
                </c:pt>
                <c:pt idx="16">
                  <c:v>7.3021617086297813E-2</c:v>
                </c:pt>
                <c:pt idx="17">
                  <c:v>7.0563582221241872E-2</c:v>
                </c:pt>
                <c:pt idx="18">
                  <c:v>5.8457355064525013E-2</c:v>
                </c:pt>
                <c:pt idx="19">
                  <c:v>3.8882846488502175E-2</c:v>
                </c:pt>
                <c:pt idx="20">
                  <c:v>3.5070374687489192E-2</c:v>
                </c:pt>
                <c:pt idx="21">
                  <c:v>3.264812847640286E-2</c:v>
                </c:pt>
                <c:pt idx="22">
                  <c:v>2.3391214095812178E-2</c:v>
                </c:pt>
                <c:pt idx="23">
                  <c:v>1.7776695482771217E-2</c:v>
                </c:pt>
                <c:pt idx="24">
                  <c:v>1.4997199288326048E-2</c:v>
                </c:pt>
                <c:pt idx="25">
                  <c:v>1.3059349033256021E-2</c:v>
                </c:pt>
                <c:pt idx="26">
                  <c:v>9.8893916791809901E-3</c:v>
                </c:pt>
                <c:pt idx="27">
                  <c:v>9.5081155837313681E-3</c:v>
                </c:pt>
                <c:pt idx="28">
                  <c:v>3.821316269880629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4366768"/>
        <c:axId val="354367160"/>
      </c:barChart>
      <c:catAx>
        <c:axId val="3543667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7160"/>
        <c:crosses val="autoZero"/>
        <c:auto val="1"/>
        <c:lblAlgn val="ctr"/>
        <c:lblOffset val="100"/>
        <c:noMultiLvlLbl val="0"/>
      </c:catAx>
      <c:valAx>
        <c:axId val="354367160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67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8487393863624522E-2"/>
          <c:y val="4.725794487389709E-2"/>
          <c:w val="0.90731728915976451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44. týden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457-4C08-8B8D-49B5CD97021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790-4FF7-B806-ED2F71D73D6B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790-4FF7-B806-ED2F71D73D6B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B55-4A16-9A6E-E29737EBB7F9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DFEF-4C58-AB71-BCAF2B9C9422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5B55-4A16-9A6E-E29737EBB7F9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DFEF-4C58-AB71-BCAF2B9C9422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DFEF-4C58-AB71-BCAF2B9C9422}"/>
              </c:ext>
            </c:extLst>
          </c:dPt>
          <c:cat>
            <c:strRef>
              <c:f>List1!$A$2:$A$30</c:f>
              <c:strCache>
                <c:ptCount val="29"/>
                <c:pt idx="0">
                  <c:v>Belgie</c:v>
                </c:pt>
                <c:pt idx="1">
                  <c:v>Německo</c:v>
                </c:pt>
                <c:pt idx="2">
                  <c:v>Maďarsko</c:v>
                </c:pt>
                <c:pt idx="3">
                  <c:v>Polsko</c:v>
                </c:pt>
                <c:pt idx="4">
                  <c:v>Chorvatsko</c:v>
                </c:pt>
                <c:pt idx="5">
                  <c:v>Irsko</c:v>
                </c:pt>
                <c:pt idx="6">
                  <c:v>Estonsko</c:v>
                </c:pt>
                <c:pt idx="7">
                  <c:v>Lichtenštejnsko</c:v>
                </c:pt>
                <c:pt idx="8">
                  <c:v>Slovensko</c:v>
                </c:pt>
                <c:pt idx="9">
                  <c:v>Litva</c:v>
                </c:pt>
                <c:pt idx="10">
                  <c:v>Česká republika</c:v>
                </c:pt>
                <c:pt idx="11">
                  <c:v>Rumunsko</c:v>
                </c:pt>
                <c:pt idx="12">
                  <c:v>Bulharsko</c:v>
                </c:pt>
                <c:pt idx="13">
                  <c:v>Lotyšsko</c:v>
                </c:pt>
                <c:pt idx="14">
                  <c:v>Lucembursko</c:v>
                </c:pt>
                <c:pt idx="15">
                  <c:v>Norsko</c:v>
                </c:pt>
                <c:pt idx="16">
                  <c:v>Nizozemsko</c:v>
                </c:pt>
                <c:pt idx="17">
                  <c:v>Slovinsko</c:v>
                </c:pt>
                <c:pt idx="18">
                  <c:v>Finsko</c:v>
                </c:pt>
                <c:pt idx="19">
                  <c:v>Island</c:v>
                </c:pt>
                <c:pt idx="20">
                  <c:v>Portugalsko</c:v>
                </c:pt>
                <c:pt idx="21">
                  <c:v>Francie</c:v>
                </c:pt>
                <c:pt idx="22">
                  <c:v>Španělsko</c:v>
                </c:pt>
                <c:pt idx="23">
                  <c:v>Malta</c:v>
                </c:pt>
                <c:pt idx="24">
                  <c:v>Rakousko</c:v>
                </c:pt>
                <c:pt idx="25">
                  <c:v>Dánsko</c:v>
                </c:pt>
                <c:pt idx="26">
                  <c:v>Itálie</c:v>
                </c:pt>
                <c:pt idx="27">
                  <c:v>Řecko</c:v>
                </c:pt>
                <c:pt idx="28">
                  <c:v>Kypr</c:v>
                </c:pt>
              </c:strCache>
            </c:strRef>
          </c:cat>
          <c:val>
            <c:numRef>
              <c:f>List1!$B$2:$B$30</c:f>
              <c:numCache>
                <c:formatCode>0.0%</c:formatCode>
                <c:ptCount val="29"/>
                <c:pt idx="0">
                  <c:v>0.10390410264551682</c:v>
                </c:pt>
                <c:pt idx="1">
                  <c:v>0.1491482045269098</c:v>
                </c:pt>
                <c:pt idx="2">
                  <c:v>0.20132975089940344</c:v>
                </c:pt>
                <c:pt idx="3">
                  <c:v>0.19202110339815676</c:v>
                </c:pt>
                <c:pt idx="4">
                  <c:v>0.25804765105683769</c:v>
                </c:pt>
                <c:pt idx="5">
                  <c:v>0.14252505054177478</c:v>
                </c:pt>
                <c:pt idx="6">
                  <c:v>0.19236476213156498</c:v>
                </c:pt>
                <c:pt idx="7">
                  <c:v>0.15308988764044945</c:v>
                </c:pt>
                <c:pt idx="8">
                  <c:v>0.13627855933911587</c:v>
                </c:pt>
                <c:pt idx="9">
                  <c:v>0.15969390457024837</c:v>
                </c:pt>
                <c:pt idx="10">
                  <c:v>8.8989132663522652E-2</c:v>
                </c:pt>
                <c:pt idx="11">
                  <c:v>0.15467543600925082</c:v>
                </c:pt>
                <c:pt idx="12">
                  <c:v>0.10984182143269119</c:v>
                </c:pt>
                <c:pt idx="13">
                  <c:v>9.0421778211808648E-2</c:v>
                </c:pt>
                <c:pt idx="14">
                  <c:v>7.9290829290829284E-2</c:v>
                </c:pt>
                <c:pt idx="15">
                  <c:v>7.5403260554497947E-2</c:v>
                </c:pt>
                <c:pt idx="16">
                  <c:v>6.8041285891292838E-2</c:v>
                </c:pt>
                <c:pt idx="17">
                  <c:v>9.9283334319118316E-2</c:v>
                </c:pt>
                <c:pt idx="18">
                  <c:v>5.8024254731726239E-2</c:v>
                </c:pt>
                <c:pt idx="19">
                  <c:v>3.5170536701539509E-2</c:v>
                </c:pt>
                <c:pt idx="20">
                  <c:v>3.094515523826076E-2</c:v>
                </c:pt>
                <c:pt idx="21">
                  <c:v>2.9005993003298206E-2</c:v>
                </c:pt>
                <c:pt idx="22">
                  <c:v>1.9337265318986087E-2</c:v>
                </c:pt>
                <c:pt idx="23">
                  <c:v>1.6212508573922802E-2</c:v>
                </c:pt>
                <c:pt idx="24">
                  <c:v>1.1915269382126739E-2</c:v>
                </c:pt>
                <c:pt idx="25">
                  <c:v>1.3416128603872035E-2</c:v>
                </c:pt>
                <c:pt idx="26">
                  <c:v>8.0115549342017894E-3</c:v>
                </c:pt>
                <c:pt idx="27">
                  <c:v>1.0493739493044977E-2</c:v>
                </c:pt>
                <c:pt idx="28">
                  <c:v>3.6652697216968092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45. týde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List1!$A$2:$A$30</c:f>
              <c:strCache>
                <c:ptCount val="29"/>
                <c:pt idx="0">
                  <c:v>Belgie</c:v>
                </c:pt>
                <c:pt idx="1">
                  <c:v>Německo</c:v>
                </c:pt>
                <c:pt idx="2">
                  <c:v>Maďarsko</c:v>
                </c:pt>
                <c:pt idx="3">
                  <c:v>Polsko</c:v>
                </c:pt>
                <c:pt idx="4">
                  <c:v>Chorvatsko</c:v>
                </c:pt>
                <c:pt idx="5">
                  <c:v>Irsko</c:v>
                </c:pt>
                <c:pt idx="6">
                  <c:v>Estonsko</c:v>
                </c:pt>
                <c:pt idx="7">
                  <c:v>Lichtenštejnsko</c:v>
                </c:pt>
                <c:pt idx="8">
                  <c:v>Slovensko</c:v>
                </c:pt>
                <c:pt idx="9">
                  <c:v>Litva</c:v>
                </c:pt>
                <c:pt idx="10">
                  <c:v>Česká republika</c:v>
                </c:pt>
                <c:pt idx="11">
                  <c:v>Rumunsko</c:v>
                </c:pt>
                <c:pt idx="12">
                  <c:v>Bulharsko</c:v>
                </c:pt>
                <c:pt idx="13">
                  <c:v>Lotyšsko</c:v>
                </c:pt>
                <c:pt idx="14">
                  <c:v>Lucembursko</c:v>
                </c:pt>
                <c:pt idx="15">
                  <c:v>Norsko</c:v>
                </c:pt>
                <c:pt idx="16">
                  <c:v>Nizozemsko</c:v>
                </c:pt>
                <c:pt idx="17">
                  <c:v>Slovinsko</c:v>
                </c:pt>
                <c:pt idx="18">
                  <c:v>Finsko</c:v>
                </c:pt>
                <c:pt idx="19">
                  <c:v>Island</c:v>
                </c:pt>
                <c:pt idx="20">
                  <c:v>Portugalsko</c:v>
                </c:pt>
                <c:pt idx="21">
                  <c:v>Francie</c:v>
                </c:pt>
                <c:pt idx="22">
                  <c:v>Španělsko</c:v>
                </c:pt>
                <c:pt idx="23">
                  <c:v>Malta</c:v>
                </c:pt>
                <c:pt idx="24">
                  <c:v>Rakousko</c:v>
                </c:pt>
                <c:pt idx="25">
                  <c:v>Dánsko</c:v>
                </c:pt>
                <c:pt idx="26">
                  <c:v>Itálie</c:v>
                </c:pt>
                <c:pt idx="27">
                  <c:v>Řecko</c:v>
                </c:pt>
                <c:pt idx="28">
                  <c:v>Kypr</c:v>
                </c:pt>
              </c:strCache>
            </c:strRef>
          </c:cat>
          <c:val>
            <c:numRef>
              <c:f>List1!$C$2:$C$30</c:f>
              <c:numCache>
                <c:formatCode>0.0%</c:formatCode>
                <c:ptCount val="29"/>
                <c:pt idx="0">
                  <c:v>0.38411408882504144</c:v>
                </c:pt>
                <c:pt idx="1">
                  <c:v>0.22536192109777015</c:v>
                </c:pt>
                <c:pt idx="2">
                  <c:v>0.22405975279264989</c:v>
                </c:pt>
                <c:pt idx="3">
                  <c:v>0.2228222939699312</c:v>
                </c:pt>
                <c:pt idx="4">
                  <c:v>0.21105900955548587</c:v>
                </c:pt>
                <c:pt idx="5">
                  <c:v>0.14684077592465719</c:v>
                </c:pt>
                <c:pt idx="6">
                  <c:v>0.14106543624161075</c:v>
                </c:pt>
                <c:pt idx="7">
                  <c:v>0.13703703703703704</c:v>
                </c:pt>
                <c:pt idx="8">
                  <c:v>0.13174725929332093</c:v>
                </c:pt>
                <c:pt idx="9">
                  <c:v>0.11750898772914996</c:v>
                </c:pt>
                <c:pt idx="10">
                  <c:v>0.11065330513504636</c:v>
                </c:pt>
                <c:pt idx="11">
                  <c:v>0.10025909543184214</c:v>
                </c:pt>
                <c:pt idx="12">
                  <c:v>9.7950900603763755E-2</c:v>
                </c:pt>
                <c:pt idx="13">
                  <c:v>8.9960280571283704E-2</c:v>
                </c:pt>
                <c:pt idx="14">
                  <c:v>8.765340668641558E-2</c:v>
                </c:pt>
                <c:pt idx="15">
                  <c:v>8.1060922905339464E-2</c:v>
                </c:pt>
                <c:pt idx="16">
                  <c:v>7.2535561861223577E-2</c:v>
                </c:pt>
                <c:pt idx="17">
                  <c:v>5.912845759105511E-2</c:v>
                </c:pt>
                <c:pt idx="18">
                  <c:v>5.8877573610803632E-2</c:v>
                </c:pt>
                <c:pt idx="19">
                  <c:v>4.2003288768141848E-2</c:v>
                </c:pt>
                <c:pt idx="20">
                  <c:v>3.8534953178684515E-2</c:v>
                </c:pt>
                <c:pt idx="21">
                  <c:v>3.5906026679624975E-2</c:v>
                </c:pt>
                <c:pt idx="22">
                  <c:v>2.6936010366943885E-2</c:v>
                </c:pt>
                <c:pt idx="23">
                  <c:v>1.926851025869759E-2</c:v>
                </c:pt>
                <c:pt idx="24">
                  <c:v>1.8403367701198659E-2</c:v>
                </c:pt>
                <c:pt idx="25">
                  <c:v>1.2819418593017939E-2</c:v>
                </c:pt>
                <c:pt idx="26">
                  <c:v>1.0842205598225654E-2</c:v>
                </c:pt>
                <c:pt idx="27">
                  <c:v>9.3846026753503717E-3</c:v>
                </c:pt>
                <c:pt idx="28">
                  <c:v>3.9710366454195197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7DCA-49BB-91DA-A5CFB36956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99904824"/>
        <c:axId val="359794704"/>
      </c:barChart>
      <c:catAx>
        <c:axId val="2999048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794704"/>
        <c:crosses val="autoZero"/>
        <c:auto val="1"/>
        <c:lblAlgn val="ctr"/>
        <c:lblOffset val="100"/>
        <c:noMultiLvlLbl val="0"/>
      </c:catAx>
      <c:valAx>
        <c:axId val="359794704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99048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bg2">
                  <a:lumMod val="2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9535243648902862"/>
          <c:h val="0.67139752351557902"/>
        </c:manualLayout>
      </c:layout>
      <c:lineChart>
        <c:grouping val="standard"/>
        <c:varyColors val="0"/>
        <c:ser>
          <c:idx val="9"/>
          <c:order val="0"/>
          <c:tx>
            <c:strRef>
              <c:f>List1!$H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46</c:f>
              <c:strCache>
                <c:ptCount val="45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</c:strCache>
            </c:strRef>
          </c:cat>
          <c:val>
            <c:numRef>
              <c:f>List1!$H$2:$H$46</c:f>
              <c:numCache>
                <c:formatCode>0.0%</c:formatCode>
                <c:ptCount val="45"/>
                <c:pt idx="0">
                  <c:v>4.8301828152973056E-2</c:v>
                </c:pt>
                <c:pt idx="1">
                  <c:v>4.6174331460271778E-2</c:v>
                </c:pt>
                <c:pt idx="2">
                  <c:v>4.9433045529424582E-2</c:v>
                </c:pt>
                <c:pt idx="3">
                  <c:v>4.7978187114365231E-2</c:v>
                </c:pt>
                <c:pt idx="4">
                  <c:v>4.4145173514618406E-2</c:v>
                </c:pt>
                <c:pt idx="5">
                  <c:v>4.3174882981777879E-2</c:v>
                </c:pt>
                <c:pt idx="6">
                  <c:v>5.8835020756240961E-2</c:v>
                </c:pt>
                <c:pt idx="7">
                  <c:v>5.8802924366017424E-2</c:v>
                </c:pt>
                <c:pt idx="8">
                  <c:v>5.3993334475502093E-2</c:v>
                </c:pt>
                <c:pt idx="9">
                  <c:v>6.3377714003434407E-2</c:v>
                </c:pt>
                <c:pt idx="10">
                  <c:v>7.1123396631515248E-2</c:v>
                </c:pt>
                <c:pt idx="11">
                  <c:v>7.1207996129029574E-2</c:v>
                </c:pt>
                <c:pt idx="12">
                  <c:v>7.2776234876422027E-2</c:v>
                </c:pt>
                <c:pt idx="13">
                  <c:v>8.5721501581978776E-2</c:v>
                </c:pt>
                <c:pt idx="14">
                  <c:v>8.7193306315290653E-2</c:v>
                </c:pt>
                <c:pt idx="15">
                  <c:v>7.9296512430828331E-2</c:v>
                </c:pt>
                <c:pt idx="16">
                  <c:v>6.3284394445230485E-2</c:v>
                </c:pt>
                <c:pt idx="17">
                  <c:v>5.7257888364241394E-2</c:v>
                </c:pt>
                <c:pt idx="18">
                  <c:v>5.0551819512988774E-2</c:v>
                </c:pt>
                <c:pt idx="19">
                  <c:v>4.8513196711197852E-2</c:v>
                </c:pt>
                <c:pt idx="20">
                  <c:v>3.9665347947337698E-2</c:v>
                </c:pt>
                <c:pt idx="21">
                  <c:v>2.9208559815248412E-2</c:v>
                </c:pt>
                <c:pt idx="22">
                  <c:v>1.8953774607252814E-2</c:v>
                </c:pt>
                <c:pt idx="23">
                  <c:v>1.1060863974751423E-2</c:v>
                </c:pt>
                <c:pt idx="24">
                  <c:v>8.3328244067612592E-3</c:v>
                </c:pt>
                <c:pt idx="25">
                  <c:v>9.0309303845542387E-3</c:v>
                </c:pt>
                <c:pt idx="26">
                  <c:v>1.7586210126060653E-2</c:v>
                </c:pt>
                <c:pt idx="27">
                  <c:v>1.8972151244295528E-2</c:v>
                </c:pt>
                <c:pt idx="28">
                  <c:v>2.4627155764982506E-2</c:v>
                </c:pt>
                <c:pt idx="29">
                  <c:v>2.9404099843115587E-2</c:v>
                </c:pt>
                <c:pt idx="30">
                  <c:v>3.4770399970442033E-2</c:v>
                </c:pt>
                <c:pt idx="31">
                  <c:v>3.795582247093883E-2</c:v>
                </c:pt>
                <c:pt idx="32">
                  <c:v>4.5109396159305606E-2</c:v>
                </c:pt>
                <c:pt idx="33">
                  <c:v>4.9223846234346114E-2</c:v>
                </c:pt>
                <c:pt idx="34">
                  <c:v>4.8743230599109698E-2</c:v>
                </c:pt>
                <c:pt idx="35">
                  <c:v>4.5960332214361181E-2</c:v>
                </c:pt>
                <c:pt idx="36">
                  <c:v>4.3749130521566086E-2</c:v>
                </c:pt>
                <c:pt idx="37">
                  <c:v>4.0985135143264496E-2</c:v>
                </c:pt>
                <c:pt idx="38">
                  <c:v>4.2823746103712097E-2</c:v>
                </c:pt>
                <c:pt idx="39">
                  <c:v>4.7647363474191011E-2</c:v>
                </c:pt>
                <c:pt idx="40">
                  <c:v>6.4827496064603016E-2</c:v>
                </c:pt>
                <c:pt idx="41">
                  <c:v>8.4996891474122593E-2</c:v>
                </c:pt>
                <c:pt idx="42">
                  <c:v>9.1532213946050586E-2</c:v>
                </c:pt>
                <c:pt idx="43">
                  <c:v>0.10390410264551682</c:v>
                </c:pt>
                <c:pt idx="44">
                  <c:v>0.384114088825041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46</c:f>
              <c:strCache>
                <c:ptCount val="45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</c:strCache>
            </c:strRef>
          </c:cat>
          <c:val>
            <c:numRef>
              <c:f>List1!$C$2:$C$46</c:f>
              <c:numCache>
                <c:formatCode>0.0%</c:formatCode>
                <c:ptCount val="45"/>
                <c:pt idx="0">
                  <c:v>0.20383060772036654</c:v>
                </c:pt>
                <c:pt idx="1">
                  <c:v>0.15124287184324486</c:v>
                </c:pt>
                <c:pt idx="2">
                  <c:v>0.14586140184623955</c:v>
                </c:pt>
                <c:pt idx="3">
                  <c:v>0.13094764415265758</c:v>
                </c:pt>
                <c:pt idx="4">
                  <c:v>0.12607997341603899</c:v>
                </c:pt>
                <c:pt idx="5">
                  <c:v>0.12898055397549241</c:v>
                </c:pt>
                <c:pt idx="6">
                  <c:v>0.13558275561043726</c:v>
                </c:pt>
                <c:pt idx="7">
                  <c:v>0.13955421257007491</c:v>
                </c:pt>
                <c:pt idx="8">
                  <c:v>0.11581632653061225</c:v>
                </c:pt>
                <c:pt idx="9">
                  <c:v>6.5013536940600886E-2</c:v>
                </c:pt>
                <c:pt idx="10">
                  <c:v>5.1076944359512266E-2</c:v>
                </c:pt>
                <c:pt idx="11">
                  <c:v>3.8216156901534702E-2</c:v>
                </c:pt>
                <c:pt idx="12">
                  <c:v>3.0650319829424306E-2</c:v>
                </c:pt>
                <c:pt idx="13">
                  <c:v>2.0957763035844939E-2</c:v>
                </c:pt>
                <c:pt idx="14">
                  <c:v>1.598930826907919E-2</c:v>
                </c:pt>
                <c:pt idx="15">
                  <c:v>1.2921795125758737E-2</c:v>
                </c:pt>
                <c:pt idx="16">
                  <c:v>1.04872263398342E-2</c:v>
                </c:pt>
                <c:pt idx="17">
                  <c:v>7.4948191777203556E-3</c:v>
                </c:pt>
                <c:pt idx="18">
                  <c:v>5.2690997096505798E-3</c:v>
                </c:pt>
                <c:pt idx="19">
                  <c:v>3.1222510717498798E-3</c:v>
                </c:pt>
                <c:pt idx="20">
                  <c:v>2.2639770269791185E-3</c:v>
                </c:pt>
                <c:pt idx="21">
                  <c:v>1.8119174117848776E-3</c:v>
                </c:pt>
                <c:pt idx="22">
                  <c:v>1.2673056633785383E-3</c:v>
                </c:pt>
                <c:pt idx="23">
                  <c:v>8.6963646588678707E-4</c:v>
                </c:pt>
                <c:pt idx="24">
                  <c:v>7.4047283256539591E-4</c:v>
                </c:pt>
                <c:pt idx="25">
                  <c:v>1.143781227492424E-3</c:v>
                </c:pt>
                <c:pt idx="26">
                  <c:v>2.5243043292376898E-3</c:v>
                </c:pt>
                <c:pt idx="27">
                  <c:v>2.216677848789231E-3</c:v>
                </c:pt>
                <c:pt idx="28">
                  <c:v>1.8562069428506964E-3</c:v>
                </c:pt>
                <c:pt idx="29">
                  <c:v>1.5598702844710809E-3</c:v>
                </c:pt>
                <c:pt idx="30">
                  <c:v>1.6343263186663023E-3</c:v>
                </c:pt>
                <c:pt idx="31">
                  <c:v>1.7179100197505799E-3</c:v>
                </c:pt>
                <c:pt idx="32">
                  <c:v>1.9275399307925618E-3</c:v>
                </c:pt>
                <c:pt idx="33">
                  <c:v>2.3273745690457408E-3</c:v>
                </c:pt>
                <c:pt idx="34">
                  <c:v>3.1162355874104083E-3</c:v>
                </c:pt>
                <c:pt idx="35">
                  <c:v>4.9411447586470035E-3</c:v>
                </c:pt>
                <c:pt idx="36">
                  <c:v>6.0325293915271727E-3</c:v>
                </c:pt>
                <c:pt idx="37">
                  <c:v>6.3226150881561536E-3</c:v>
                </c:pt>
                <c:pt idx="38">
                  <c:v>9.8210049695334582E-3</c:v>
                </c:pt>
                <c:pt idx="39">
                  <c:v>1.3330500704430082E-2</c:v>
                </c:pt>
                <c:pt idx="40">
                  <c:v>1.9516824744024188E-2</c:v>
                </c:pt>
                <c:pt idx="41">
                  <c:v>3.659803719833956E-2</c:v>
                </c:pt>
                <c:pt idx="42">
                  <c:v>4.9016122653806234E-2</c:v>
                </c:pt>
                <c:pt idx="43">
                  <c:v>8.8989132663522652E-2</c:v>
                </c:pt>
                <c:pt idx="44">
                  <c:v>0.110653305135046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46</c:f>
              <c:strCache>
                <c:ptCount val="45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</c:strCache>
            </c:strRef>
          </c:cat>
          <c:val>
            <c:numRef>
              <c:f>List1!$D$2:$D$46</c:f>
              <c:numCache>
                <c:formatCode>0.0%</c:formatCode>
                <c:ptCount val="45"/>
                <c:pt idx="0">
                  <c:v>6.2888281994283896E-2</c:v>
                </c:pt>
                <c:pt idx="1">
                  <c:v>6.4129305237496048E-2</c:v>
                </c:pt>
                <c:pt idx="2">
                  <c:v>6.8371791746904664E-2</c:v>
                </c:pt>
                <c:pt idx="3">
                  <c:v>6.4332837018621872E-2</c:v>
                </c:pt>
                <c:pt idx="4">
                  <c:v>6.1373632517658462E-2</c:v>
                </c:pt>
                <c:pt idx="5">
                  <c:v>5.4581165248025781E-2</c:v>
                </c:pt>
                <c:pt idx="6">
                  <c:v>5.8391836782161713E-2</c:v>
                </c:pt>
                <c:pt idx="7">
                  <c:v>6.5676362313978415E-2</c:v>
                </c:pt>
                <c:pt idx="8">
                  <c:v>6.4786407281609365E-2</c:v>
                </c:pt>
                <c:pt idx="9">
                  <c:v>6.6706471148282445E-2</c:v>
                </c:pt>
                <c:pt idx="10">
                  <c:v>7.3099290863917532E-2</c:v>
                </c:pt>
                <c:pt idx="11">
                  <c:v>7.5498554565808673E-2</c:v>
                </c:pt>
                <c:pt idx="12">
                  <c:v>7.0390653691178279E-2</c:v>
                </c:pt>
                <c:pt idx="13">
                  <c:v>8.1076502230597661E-2</c:v>
                </c:pt>
                <c:pt idx="14">
                  <c:v>9.0645902760655692E-2</c:v>
                </c:pt>
                <c:pt idx="15">
                  <c:v>9.2221719048102266E-2</c:v>
                </c:pt>
                <c:pt idx="16">
                  <c:v>6.9694748600796053E-2</c:v>
                </c:pt>
                <c:pt idx="17">
                  <c:v>4.9530392356169954E-2</c:v>
                </c:pt>
                <c:pt idx="18">
                  <c:v>4.1112470048167739E-2</c:v>
                </c:pt>
                <c:pt idx="19">
                  <c:v>3.6055606027539093E-2</c:v>
                </c:pt>
                <c:pt idx="20">
                  <c:v>3.141489552060759E-2</c:v>
                </c:pt>
                <c:pt idx="21">
                  <c:v>2.3885798611162114E-2</c:v>
                </c:pt>
                <c:pt idx="22">
                  <c:v>1.5403502673782666E-2</c:v>
                </c:pt>
                <c:pt idx="23">
                  <c:v>9.7169335959357596E-3</c:v>
                </c:pt>
                <c:pt idx="24">
                  <c:v>7.7068662825661022E-3</c:v>
                </c:pt>
                <c:pt idx="25">
                  <c:v>8.7743639303792011E-3</c:v>
                </c:pt>
                <c:pt idx="26">
                  <c:v>1.2407202619028043E-2</c:v>
                </c:pt>
                <c:pt idx="27">
                  <c:v>2.3378893884813186E-2</c:v>
                </c:pt>
                <c:pt idx="28">
                  <c:v>4.2076159564349735E-2</c:v>
                </c:pt>
                <c:pt idx="29">
                  <c:v>4.2618263732455378E-2</c:v>
                </c:pt>
                <c:pt idx="30">
                  <c:v>4.3305743173333432E-2</c:v>
                </c:pt>
                <c:pt idx="31">
                  <c:v>3.5691828298066018E-2</c:v>
                </c:pt>
                <c:pt idx="32">
                  <c:v>3.1057260114972538E-2</c:v>
                </c:pt>
                <c:pt idx="33">
                  <c:v>2.8494347519878557E-2</c:v>
                </c:pt>
                <c:pt idx="34">
                  <c:v>2.4630632269883723E-2</c:v>
                </c:pt>
                <c:pt idx="35">
                  <c:v>1.9954781460228933E-2</c:v>
                </c:pt>
                <c:pt idx="36">
                  <c:v>1.4879269519677944E-2</c:v>
                </c:pt>
                <c:pt idx="37">
                  <c:v>1.2461365680182484E-2</c:v>
                </c:pt>
                <c:pt idx="38">
                  <c:v>1.0940178320000707E-2</c:v>
                </c:pt>
                <c:pt idx="39">
                  <c:v>1.0219963646944673E-2</c:v>
                </c:pt>
                <c:pt idx="40">
                  <c:v>1.1529827699139957E-2</c:v>
                </c:pt>
                <c:pt idx="41">
                  <c:v>1.7521868206180582E-2</c:v>
                </c:pt>
                <c:pt idx="42">
                  <c:v>2.1262424236243912E-2</c:v>
                </c:pt>
                <c:pt idx="43">
                  <c:v>2.9005993003298206E-2</c:v>
                </c:pt>
                <c:pt idx="44">
                  <c:v>3.590602667962497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46</c:f>
              <c:strCache>
                <c:ptCount val="45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</c:strCache>
            </c:strRef>
          </c:cat>
          <c:val>
            <c:numRef>
              <c:f>List1!$F$2:$F$46</c:f>
              <c:numCache>
                <c:formatCode>0.0%</c:formatCode>
                <c:ptCount val="45"/>
                <c:pt idx="0">
                  <c:v>0.12647832276808751</c:v>
                </c:pt>
                <c:pt idx="1">
                  <c:v>7.148260585615894E-2</c:v>
                </c:pt>
                <c:pt idx="2">
                  <c:v>5.6261795792822866E-2</c:v>
                </c:pt>
                <c:pt idx="3">
                  <c:v>4.7687094813789646E-2</c:v>
                </c:pt>
                <c:pt idx="4">
                  <c:v>4.9125589622641512E-2</c:v>
                </c:pt>
                <c:pt idx="5">
                  <c:v>4.612330447350424E-2</c:v>
                </c:pt>
                <c:pt idx="6">
                  <c:v>4.7498939354344523E-2</c:v>
                </c:pt>
                <c:pt idx="7">
                  <c:v>5.8579096486507859E-2</c:v>
                </c:pt>
                <c:pt idx="8">
                  <c:v>6.4527470657813404E-2</c:v>
                </c:pt>
                <c:pt idx="9">
                  <c:v>6.8412104756103931E-2</c:v>
                </c:pt>
                <c:pt idx="10">
                  <c:v>6.585776409321048E-2</c:v>
                </c:pt>
                <c:pt idx="11">
                  <c:v>6.558783866617629E-2</c:v>
                </c:pt>
                <c:pt idx="12">
                  <c:v>6.2389937106918238E-2</c:v>
                </c:pt>
                <c:pt idx="13">
                  <c:v>5.4309764327917003E-2</c:v>
                </c:pt>
                <c:pt idx="14">
                  <c:v>4.7954037550905139E-2</c:v>
                </c:pt>
                <c:pt idx="15">
                  <c:v>4.4925779186866528E-2</c:v>
                </c:pt>
                <c:pt idx="16">
                  <c:v>3.9191294890560127E-2</c:v>
                </c:pt>
                <c:pt idx="17">
                  <c:v>3.2141087822709941E-2</c:v>
                </c:pt>
                <c:pt idx="18">
                  <c:v>2.4569087023293086E-2</c:v>
                </c:pt>
                <c:pt idx="19">
                  <c:v>1.8369157498494701E-2</c:v>
                </c:pt>
                <c:pt idx="20">
                  <c:v>1.4674559468480317E-2</c:v>
                </c:pt>
                <c:pt idx="21">
                  <c:v>1.3092594038619289E-2</c:v>
                </c:pt>
                <c:pt idx="22">
                  <c:v>9.055216145910823E-3</c:v>
                </c:pt>
                <c:pt idx="23">
                  <c:v>5.6421917674600074E-3</c:v>
                </c:pt>
                <c:pt idx="24">
                  <c:v>4.3295915993096989E-3</c:v>
                </c:pt>
                <c:pt idx="25">
                  <c:v>4.6559486381619053E-3</c:v>
                </c:pt>
                <c:pt idx="26">
                  <c:v>7.5262606165629074E-3</c:v>
                </c:pt>
                <c:pt idx="27">
                  <c:v>1.4683204200410971E-2</c:v>
                </c:pt>
                <c:pt idx="28">
                  <c:v>2.1757298281339883E-2</c:v>
                </c:pt>
                <c:pt idx="29">
                  <c:v>2.5854293814787401E-2</c:v>
                </c:pt>
                <c:pt idx="30">
                  <c:v>2.9054347796367334E-2</c:v>
                </c:pt>
                <c:pt idx="31">
                  <c:v>3.0107541899441342E-2</c:v>
                </c:pt>
                <c:pt idx="32">
                  <c:v>3.2426254653728247E-2</c:v>
                </c:pt>
                <c:pt idx="33">
                  <c:v>2.8496961748309037E-2</c:v>
                </c:pt>
                <c:pt idx="34">
                  <c:v>2.1009817376809535E-2</c:v>
                </c:pt>
                <c:pt idx="35">
                  <c:v>1.706145256596614E-2</c:v>
                </c:pt>
                <c:pt idx="36">
                  <c:v>1.4679247086676152E-2</c:v>
                </c:pt>
                <c:pt idx="37">
                  <c:v>1.1936642535592576E-2</c:v>
                </c:pt>
                <c:pt idx="38">
                  <c:v>1.0417982982995483E-2</c:v>
                </c:pt>
                <c:pt idx="39">
                  <c:v>9.2689684613647058E-3</c:v>
                </c:pt>
                <c:pt idx="40">
                  <c:v>7.4505410845256805E-3</c:v>
                </c:pt>
                <c:pt idx="41">
                  <c:v>7.6055691559069492E-3</c:v>
                </c:pt>
                <c:pt idx="42">
                  <c:v>9.8705254570199408E-3</c:v>
                </c:pt>
                <c:pt idx="43">
                  <c:v>8.0115549342017894E-3</c:v>
                </c:pt>
                <c:pt idx="44">
                  <c:v>1.0842205598225654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J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6</c:f>
              <c:strCache>
                <c:ptCount val="45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</c:strCache>
            </c:strRef>
          </c:cat>
          <c:val>
            <c:numRef>
              <c:f>List1!$J$2:$J$46</c:f>
              <c:numCache>
                <c:formatCode>0.0%</c:formatCode>
                <c:ptCount val="45"/>
                <c:pt idx="0">
                  <c:v>0.1128292281429094</c:v>
                </c:pt>
                <c:pt idx="1">
                  <c:v>8.1488353659635027E-2</c:v>
                </c:pt>
                <c:pt idx="2">
                  <c:v>7.8289467006364258E-2</c:v>
                </c:pt>
                <c:pt idx="3">
                  <c:v>7.6042488396411603E-2</c:v>
                </c:pt>
                <c:pt idx="4">
                  <c:v>8.5644246974107552E-2</c:v>
                </c:pt>
                <c:pt idx="5">
                  <c:v>9.8985603543743084E-2</c:v>
                </c:pt>
                <c:pt idx="6">
                  <c:v>0.12751089037908436</c:v>
                </c:pt>
                <c:pt idx="7">
                  <c:v>0.1699868352418093</c:v>
                </c:pt>
                <c:pt idx="8">
                  <c:v>0.18455097168726572</c:v>
                </c:pt>
                <c:pt idx="9">
                  <c:v>0.24132456437960523</c:v>
                </c:pt>
                <c:pt idx="10">
                  <c:v>0.26763241500308216</c:v>
                </c:pt>
                <c:pt idx="11">
                  <c:v>0.24924785070763855</c:v>
                </c:pt>
                <c:pt idx="12">
                  <c:v>0.22757017633934823</c:v>
                </c:pt>
                <c:pt idx="13">
                  <c:v>0.18740771709965759</c:v>
                </c:pt>
                <c:pt idx="14">
                  <c:v>0.15275652516066979</c:v>
                </c:pt>
                <c:pt idx="15">
                  <c:v>0.1194147807060514</c:v>
                </c:pt>
                <c:pt idx="16">
                  <c:v>9.5968362741694471E-2</c:v>
                </c:pt>
                <c:pt idx="17">
                  <c:v>7.5881230972380143E-2</c:v>
                </c:pt>
                <c:pt idx="18">
                  <c:v>5.6216265251508142E-2</c:v>
                </c:pt>
                <c:pt idx="19">
                  <c:v>3.9730845372983443E-2</c:v>
                </c:pt>
                <c:pt idx="20">
                  <c:v>2.7109588532841931E-2</c:v>
                </c:pt>
                <c:pt idx="21">
                  <c:v>1.6855397856941033E-2</c:v>
                </c:pt>
                <c:pt idx="22">
                  <c:v>1.2866063738156762E-2</c:v>
                </c:pt>
                <c:pt idx="23">
                  <c:v>8.6900977450310463E-3</c:v>
                </c:pt>
                <c:pt idx="24">
                  <c:v>7.0968408722913148E-3</c:v>
                </c:pt>
                <c:pt idx="25">
                  <c:v>4.6165145315286956E-3</c:v>
                </c:pt>
                <c:pt idx="26">
                  <c:v>5.932112645893565E-3</c:v>
                </c:pt>
                <c:pt idx="27">
                  <c:v>7.0108074292987033E-3</c:v>
                </c:pt>
                <c:pt idx="28">
                  <c:v>8.5268660553603562E-3</c:v>
                </c:pt>
                <c:pt idx="29">
                  <c:v>8.2225220016701999E-3</c:v>
                </c:pt>
                <c:pt idx="30">
                  <c:v>7.7855040313979775E-3</c:v>
                </c:pt>
                <c:pt idx="31">
                  <c:v>9.8493626882966388E-3</c:v>
                </c:pt>
                <c:pt idx="32">
                  <c:v>1.1483342639121534E-2</c:v>
                </c:pt>
                <c:pt idx="33">
                  <c:v>1.714011189114634E-2</c:v>
                </c:pt>
                <c:pt idx="34">
                  <c:v>2.0650760445524961E-2</c:v>
                </c:pt>
                <c:pt idx="35">
                  <c:v>2.344409250449437E-2</c:v>
                </c:pt>
                <c:pt idx="36">
                  <c:v>2.7386688359093091E-2</c:v>
                </c:pt>
                <c:pt idx="37">
                  <c:v>3.28770989135036E-2</c:v>
                </c:pt>
                <c:pt idx="38">
                  <c:v>4.4005792797945746E-2</c:v>
                </c:pt>
                <c:pt idx="39">
                  <c:v>5.0057914636011974E-2</c:v>
                </c:pt>
                <c:pt idx="40">
                  <c:v>6.8871645587227151E-2</c:v>
                </c:pt>
                <c:pt idx="41">
                  <c:v>0.11984589665911424</c:v>
                </c:pt>
                <c:pt idx="42">
                  <c:v>0.16136845697309521</c:v>
                </c:pt>
                <c:pt idx="43">
                  <c:v>0.20132975089940344</c:v>
                </c:pt>
                <c:pt idx="44">
                  <c:v>0.224059752792649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46</c:f>
              <c:strCache>
                <c:ptCount val="45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</c:strCache>
            </c:strRef>
          </c:cat>
          <c:val>
            <c:numRef>
              <c:f>List1!$E$2:$E$46</c:f>
              <c:numCache>
                <c:formatCode>0.0%</c:formatCode>
                <c:ptCount val="45"/>
                <c:pt idx="0">
                  <c:v>0.11810817724469204</c:v>
                </c:pt>
                <c:pt idx="1">
                  <c:v>0.10010660478087918</c:v>
                </c:pt>
                <c:pt idx="2">
                  <c:v>8.5766236564932791E-2</c:v>
                </c:pt>
                <c:pt idx="3">
                  <c:v>6.7837583674660237E-2</c:v>
                </c:pt>
                <c:pt idx="4">
                  <c:v>5.8604683254365186E-2</c:v>
                </c:pt>
                <c:pt idx="5">
                  <c:v>4.7901097678488255E-2</c:v>
                </c:pt>
                <c:pt idx="6">
                  <c:v>4.7486881713802456E-2</c:v>
                </c:pt>
                <c:pt idx="7">
                  <c:v>4.8086786289104434E-2</c:v>
                </c:pt>
                <c:pt idx="8">
                  <c:v>5.0614340093820182E-2</c:v>
                </c:pt>
                <c:pt idx="9">
                  <c:v>5.5708761376508729E-2</c:v>
                </c:pt>
                <c:pt idx="10">
                  <c:v>6.7561887275471175E-2</c:v>
                </c:pt>
                <c:pt idx="11">
                  <c:v>8.1959170208251539E-2</c:v>
                </c:pt>
                <c:pt idx="12">
                  <c:v>9.3085113128790364E-2</c:v>
                </c:pt>
                <c:pt idx="13">
                  <c:v>0.1007251289458802</c:v>
                </c:pt>
                <c:pt idx="14">
                  <c:v>0.10788412308220389</c:v>
                </c:pt>
                <c:pt idx="15">
                  <c:v>0.10108843518412475</c:v>
                </c:pt>
                <c:pt idx="16">
                  <c:v>9.1383865544249362E-2</c:v>
                </c:pt>
                <c:pt idx="17">
                  <c:v>8.0154653086235525E-2</c:v>
                </c:pt>
                <c:pt idx="18">
                  <c:v>6.4162803930024964E-2</c:v>
                </c:pt>
                <c:pt idx="19">
                  <c:v>4.3154532798296619E-2</c:v>
                </c:pt>
                <c:pt idx="20">
                  <c:v>3.1402830049830743E-2</c:v>
                </c:pt>
                <c:pt idx="21">
                  <c:v>2.3391323237900417E-2</c:v>
                </c:pt>
                <c:pt idx="22">
                  <c:v>1.6795013449178626E-2</c:v>
                </c:pt>
                <c:pt idx="23">
                  <c:v>9.9449585478471984E-3</c:v>
                </c:pt>
                <c:pt idx="24">
                  <c:v>6.7419944938745405E-3</c:v>
                </c:pt>
                <c:pt idx="25">
                  <c:v>4.809914808373875E-3</c:v>
                </c:pt>
                <c:pt idx="26">
                  <c:v>9.0979623504430559E-3</c:v>
                </c:pt>
                <c:pt idx="27">
                  <c:v>1.4962897148592395E-2</c:v>
                </c:pt>
                <c:pt idx="28">
                  <c:v>2.1243661057101803E-2</c:v>
                </c:pt>
                <c:pt idx="29">
                  <c:v>2.6561795518404166E-2</c:v>
                </c:pt>
                <c:pt idx="30">
                  <c:v>3.4587287082451033E-2</c:v>
                </c:pt>
                <c:pt idx="31">
                  <c:v>5.6434744025861523E-2</c:v>
                </c:pt>
                <c:pt idx="32">
                  <c:v>7.1801797107490656E-2</c:v>
                </c:pt>
                <c:pt idx="33">
                  <c:v>7.697227006624914E-2</c:v>
                </c:pt>
                <c:pt idx="34">
                  <c:v>7.8867732010051372E-2</c:v>
                </c:pt>
                <c:pt idx="35">
                  <c:v>7.0868081074050154E-2</c:v>
                </c:pt>
                <c:pt idx="36">
                  <c:v>6.2543399684365938E-2</c:v>
                </c:pt>
                <c:pt idx="37">
                  <c:v>5.5699760597684563E-2</c:v>
                </c:pt>
                <c:pt idx="38">
                  <c:v>5.854746517007791E-2</c:v>
                </c:pt>
                <c:pt idx="39">
                  <c:v>6.0450546868881988E-2</c:v>
                </c:pt>
                <c:pt idx="40">
                  <c:v>7.5967174404333856E-2</c:v>
                </c:pt>
                <c:pt idx="41">
                  <c:v>0.10727222005982907</c:v>
                </c:pt>
                <c:pt idx="42">
                  <c:v>0.11781022476831653</c:v>
                </c:pt>
                <c:pt idx="43">
                  <c:v>0.1491482045269098</c:v>
                </c:pt>
                <c:pt idx="44">
                  <c:v>0.225361921097770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46</c:f>
              <c:strCache>
                <c:ptCount val="45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</c:strCache>
            </c:strRef>
          </c:cat>
          <c:val>
            <c:numRef>
              <c:f>List1!$G$2:$G$46</c:f>
              <c:numCache>
                <c:formatCode>0.0%</c:formatCode>
                <c:ptCount val="45"/>
                <c:pt idx="0">
                  <c:v>0.12414341713069897</c:v>
                </c:pt>
                <c:pt idx="1">
                  <c:v>0.11437568290731388</c:v>
                </c:pt>
                <c:pt idx="2">
                  <c:v>0.11184843121283203</c:v>
                </c:pt>
                <c:pt idx="3">
                  <c:v>0.11076562872822715</c:v>
                </c:pt>
                <c:pt idx="4">
                  <c:v>0.10710758183870563</c:v>
                </c:pt>
                <c:pt idx="5">
                  <c:v>0.10156314043239838</c:v>
                </c:pt>
                <c:pt idx="6">
                  <c:v>8.918302710848286E-2</c:v>
                </c:pt>
                <c:pt idx="7">
                  <c:v>8.5957444521479284E-2</c:v>
                </c:pt>
                <c:pt idx="8">
                  <c:v>7.1941768318601551E-2</c:v>
                </c:pt>
                <c:pt idx="9">
                  <c:v>7.0669671910575549E-2</c:v>
                </c:pt>
                <c:pt idx="10">
                  <c:v>7.3585074508140211E-2</c:v>
                </c:pt>
                <c:pt idx="11">
                  <c:v>7.8180083270180126E-2</c:v>
                </c:pt>
                <c:pt idx="12">
                  <c:v>8.5479614906234749E-2</c:v>
                </c:pt>
                <c:pt idx="13">
                  <c:v>8.9983315114205167E-2</c:v>
                </c:pt>
                <c:pt idx="14">
                  <c:v>8.9949577898847957E-2</c:v>
                </c:pt>
                <c:pt idx="15">
                  <c:v>9.4597603883668113E-2</c:v>
                </c:pt>
                <c:pt idx="16">
                  <c:v>9.7686326688905839E-2</c:v>
                </c:pt>
                <c:pt idx="17">
                  <c:v>0.1262152272393742</c:v>
                </c:pt>
                <c:pt idx="18">
                  <c:v>0.1159213466770307</c:v>
                </c:pt>
                <c:pt idx="19">
                  <c:v>8.0888940098803125E-2</c:v>
                </c:pt>
                <c:pt idx="20">
                  <c:v>7.4104077460170503E-2</c:v>
                </c:pt>
                <c:pt idx="21">
                  <c:v>5.5121085435775839E-2</c:v>
                </c:pt>
                <c:pt idx="22">
                  <c:v>3.7197504885014276E-2</c:v>
                </c:pt>
                <c:pt idx="23">
                  <c:v>2.8432807502574944E-2</c:v>
                </c:pt>
                <c:pt idx="24">
                  <c:v>1.2352194440086152E-2</c:v>
                </c:pt>
                <c:pt idx="25">
                  <c:v>1.0636312403480909E-2</c:v>
                </c:pt>
                <c:pt idx="26">
                  <c:v>6.0365185448147063E-2</c:v>
                </c:pt>
                <c:pt idx="27">
                  <c:v>9.4411983727597501E-2</c:v>
                </c:pt>
                <c:pt idx="28">
                  <c:v>4.8721701235239251E-2</c:v>
                </c:pt>
                <c:pt idx="29">
                  <c:v>3.3205480347026944E-2</c:v>
                </c:pt>
                <c:pt idx="30">
                  <c:v>2.8893011274618172E-2</c:v>
                </c:pt>
                <c:pt idx="31">
                  <c:v>3.0900848032954769E-2</c:v>
                </c:pt>
                <c:pt idx="32">
                  <c:v>3.5908254505245422E-2</c:v>
                </c:pt>
                <c:pt idx="33">
                  <c:v>4.3689415546865049E-2</c:v>
                </c:pt>
                <c:pt idx="34">
                  <c:v>4.5942416548738867E-2</c:v>
                </c:pt>
                <c:pt idx="35">
                  <c:v>4.4310256620958569E-2</c:v>
                </c:pt>
                <c:pt idx="36">
                  <c:v>3.7977391765922991E-2</c:v>
                </c:pt>
                <c:pt idx="37">
                  <c:v>2.3980622220019576E-2</c:v>
                </c:pt>
                <c:pt idx="38">
                  <c:v>1.9971037410876025E-2</c:v>
                </c:pt>
                <c:pt idx="39">
                  <c:v>3.1647680020085049E-2</c:v>
                </c:pt>
                <c:pt idx="40">
                  <c:v>3.287736679323091E-2</c:v>
                </c:pt>
                <c:pt idx="41">
                  <c:v>4.2260798688098275E-2</c:v>
                </c:pt>
                <c:pt idx="42">
                  <c:v>5.8312033721145358E-2</c:v>
                </c:pt>
                <c:pt idx="43">
                  <c:v>6.8041285891292838E-2</c:v>
                </c:pt>
                <c:pt idx="44">
                  <c:v>7.253556186122357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I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46</c:f>
              <c:strCache>
                <c:ptCount val="45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</c:strCache>
            </c:strRef>
          </c:cat>
          <c:val>
            <c:numRef>
              <c:f>List1!$I$2:$I$46</c:f>
              <c:numCache>
                <c:formatCode>0.0%</c:formatCode>
                <c:ptCount val="45"/>
                <c:pt idx="0">
                  <c:v>0.20041622316240157</c:v>
                </c:pt>
                <c:pt idx="1">
                  <c:v>0.11393738111488728</c:v>
                </c:pt>
                <c:pt idx="2">
                  <c:v>0.13696192649742767</c:v>
                </c:pt>
                <c:pt idx="3">
                  <c:v>0.16094565106208872</c:v>
                </c:pt>
                <c:pt idx="4">
                  <c:v>0.13552716878830739</c:v>
                </c:pt>
                <c:pt idx="5">
                  <c:v>0.12811000283852739</c:v>
                </c:pt>
                <c:pt idx="6">
                  <c:v>0.16118654268509794</c:v>
                </c:pt>
                <c:pt idx="7">
                  <c:v>0.20194515697399251</c:v>
                </c:pt>
                <c:pt idx="8">
                  <c:v>0.23569771732827244</c:v>
                </c:pt>
                <c:pt idx="9">
                  <c:v>0.26006889918995696</c:v>
                </c:pt>
                <c:pt idx="10">
                  <c:v>0.29862218971432081</c:v>
                </c:pt>
                <c:pt idx="11">
                  <c:v>0.31237430945675926</c:v>
                </c:pt>
                <c:pt idx="12">
                  <c:v>0.30083059468179424</c:v>
                </c:pt>
                <c:pt idx="13">
                  <c:v>0.22638466908547436</c:v>
                </c:pt>
                <c:pt idx="14">
                  <c:v>0.19627826865650083</c:v>
                </c:pt>
                <c:pt idx="15">
                  <c:v>0.15186949781045722</c:v>
                </c:pt>
                <c:pt idx="16">
                  <c:v>0.10816847956012431</c:v>
                </c:pt>
                <c:pt idx="17">
                  <c:v>7.8741721676523255E-2</c:v>
                </c:pt>
                <c:pt idx="18">
                  <c:v>5.3207363387199558E-2</c:v>
                </c:pt>
                <c:pt idx="19">
                  <c:v>3.0152159013022619E-2</c:v>
                </c:pt>
                <c:pt idx="20">
                  <c:v>1.6180870521318998E-2</c:v>
                </c:pt>
                <c:pt idx="21">
                  <c:v>9.1995544718384056E-3</c:v>
                </c:pt>
                <c:pt idx="22">
                  <c:v>5.8087141569764288E-3</c:v>
                </c:pt>
                <c:pt idx="23">
                  <c:v>3.7043650373311623E-3</c:v>
                </c:pt>
                <c:pt idx="24">
                  <c:v>2.7204321821338992E-3</c:v>
                </c:pt>
                <c:pt idx="25">
                  <c:v>2.1344901189314447E-3</c:v>
                </c:pt>
                <c:pt idx="26">
                  <c:v>2.0111258354252631E-3</c:v>
                </c:pt>
                <c:pt idx="27">
                  <c:v>2.3433512530782099E-3</c:v>
                </c:pt>
                <c:pt idx="28">
                  <c:v>2.8143125717401832E-3</c:v>
                </c:pt>
                <c:pt idx="29">
                  <c:v>3.483765110247946E-3</c:v>
                </c:pt>
                <c:pt idx="30">
                  <c:v>3.8001043022869918E-3</c:v>
                </c:pt>
                <c:pt idx="31">
                  <c:v>4.7280722475605544E-3</c:v>
                </c:pt>
                <c:pt idx="32">
                  <c:v>5.0274835768869819E-3</c:v>
                </c:pt>
                <c:pt idx="33">
                  <c:v>6.2417235210754972E-3</c:v>
                </c:pt>
                <c:pt idx="34">
                  <c:v>8.9875520632396125E-3</c:v>
                </c:pt>
                <c:pt idx="35">
                  <c:v>1.2670956577321677E-2</c:v>
                </c:pt>
                <c:pt idx="36">
                  <c:v>1.6751379694115217E-2</c:v>
                </c:pt>
                <c:pt idx="37">
                  <c:v>2.0444139194139194E-2</c:v>
                </c:pt>
                <c:pt idx="38">
                  <c:v>2.9341924839187968E-2</c:v>
                </c:pt>
                <c:pt idx="39">
                  <c:v>4.6197617026627683E-2</c:v>
                </c:pt>
                <c:pt idx="40">
                  <c:v>6.6678390888034927E-2</c:v>
                </c:pt>
                <c:pt idx="41">
                  <c:v>0.11175634569997235</c:v>
                </c:pt>
                <c:pt idx="42">
                  <c:v>0.15054810327419588</c:v>
                </c:pt>
                <c:pt idx="43">
                  <c:v>0.19202110339815676</c:v>
                </c:pt>
                <c:pt idx="44">
                  <c:v>0.22282229396993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46</c:f>
              <c:strCache>
                <c:ptCount val="45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</c:strCache>
            </c:strRef>
          </c:cat>
          <c:val>
            <c:numRef>
              <c:f>List1!$B$2:$B$46</c:f>
              <c:numCache>
                <c:formatCode>0.0%</c:formatCode>
                <c:ptCount val="45"/>
                <c:pt idx="0">
                  <c:v>0.10679753347684898</c:v>
                </c:pt>
                <c:pt idx="1">
                  <c:v>1.2007875095285362E-2</c:v>
                </c:pt>
                <c:pt idx="2">
                  <c:v>8.8792686859189181E-3</c:v>
                </c:pt>
                <c:pt idx="3">
                  <c:v>1.4503296411692311E-2</c:v>
                </c:pt>
                <c:pt idx="4">
                  <c:v>9.4930249801100514E-3</c:v>
                </c:pt>
                <c:pt idx="5">
                  <c:v>6.4037155624362269E-3</c:v>
                </c:pt>
                <c:pt idx="6">
                  <c:v>7.7532963335576414E-3</c:v>
                </c:pt>
                <c:pt idx="7">
                  <c:v>8.975691756430957E-3</c:v>
                </c:pt>
                <c:pt idx="8">
                  <c:v>9.8912321633642421E-3</c:v>
                </c:pt>
                <c:pt idx="9">
                  <c:v>9.9626543908140942E-3</c:v>
                </c:pt>
                <c:pt idx="10">
                  <c:v>1.0592370259408368E-2</c:v>
                </c:pt>
                <c:pt idx="11">
                  <c:v>1.0723457412946081E-2</c:v>
                </c:pt>
                <c:pt idx="12">
                  <c:v>9.580810722985696E-3</c:v>
                </c:pt>
                <c:pt idx="13">
                  <c:v>8.5160716185759475E-3</c:v>
                </c:pt>
                <c:pt idx="14">
                  <c:v>7.7651229220020435E-3</c:v>
                </c:pt>
                <c:pt idx="15">
                  <c:v>7.2916792862906055E-3</c:v>
                </c:pt>
                <c:pt idx="16">
                  <c:v>6.4211271632174391E-3</c:v>
                </c:pt>
                <c:pt idx="17">
                  <c:v>1.8444063846157937E-3</c:v>
                </c:pt>
                <c:pt idx="18">
                  <c:v>1.4115118493612489E-3</c:v>
                </c:pt>
                <c:pt idx="19">
                  <c:v>7.4098169106467026E-4</c:v>
                </c:pt>
                <c:pt idx="20">
                  <c:v>8.6120809584681781E-4</c:v>
                </c:pt>
                <c:pt idx="21">
                  <c:v>4.9861148123416118E-4</c:v>
                </c:pt>
                <c:pt idx="22">
                  <c:v>2.9807641588952625E-4</c:v>
                </c:pt>
                <c:pt idx="23">
                  <c:v>1.7685809996859976E-4</c:v>
                </c:pt>
                <c:pt idx="24">
                  <c:v>1.245386887048178E-4</c:v>
                </c:pt>
                <c:pt idx="25">
                  <c:v>1.3145565295707621E-4</c:v>
                </c:pt>
                <c:pt idx="26">
                  <c:v>2.6767640427584815E-4</c:v>
                </c:pt>
                <c:pt idx="27">
                  <c:v>6.4409399305953466E-4</c:v>
                </c:pt>
                <c:pt idx="28">
                  <c:v>9.0123818727872015E-4</c:v>
                </c:pt>
                <c:pt idx="29">
                  <c:v>1.0093815667241268E-3</c:v>
                </c:pt>
                <c:pt idx="30">
                  <c:v>1.3506209872354159E-3</c:v>
                </c:pt>
                <c:pt idx="31">
                  <c:v>2.2796149725668536E-3</c:v>
                </c:pt>
                <c:pt idx="32">
                  <c:v>2.9082730464674278E-3</c:v>
                </c:pt>
                <c:pt idx="33">
                  <c:v>3.4908972523427415E-3</c:v>
                </c:pt>
                <c:pt idx="34">
                  <c:v>3.9793419178703248E-3</c:v>
                </c:pt>
                <c:pt idx="35">
                  <c:v>4.2461728533858467E-3</c:v>
                </c:pt>
                <c:pt idx="36">
                  <c:v>4.6169721455677267E-3</c:v>
                </c:pt>
                <c:pt idx="37">
                  <c:v>3.7127996912164549E-3</c:v>
                </c:pt>
                <c:pt idx="38">
                  <c:v>4.176085410763369E-3</c:v>
                </c:pt>
                <c:pt idx="39">
                  <c:v>3.489320543709215E-3</c:v>
                </c:pt>
                <c:pt idx="40">
                  <c:v>4.2709255740029936E-3</c:v>
                </c:pt>
                <c:pt idx="41">
                  <c:v>6.4678359816184704E-3</c:v>
                </c:pt>
                <c:pt idx="42">
                  <c:v>1.1269064362543536E-2</c:v>
                </c:pt>
                <c:pt idx="43">
                  <c:v>1.1915269382126739E-2</c:v>
                </c:pt>
                <c:pt idx="44">
                  <c:v>1.840336770119865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K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6</c:f>
              <c:strCache>
                <c:ptCount val="45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</c:strCache>
            </c:strRef>
          </c:cat>
          <c:val>
            <c:numRef>
              <c:f>List1!$K$2:$K$46</c:f>
              <c:numCache>
                <c:formatCode>0.0%</c:formatCode>
                <c:ptCount val="45"/>
                <c:pt idx="0">
                  <c:v>0.52608257560122851</c:v>
                </c:pt>
                <c:pt idx="1">
                  <c:v>0.41250189987978941</c:v>
                </c:pt>
                <c:pt idx="2">
                  <c:v>0.50369860657147769</c:v>
                </c:pt>
                <c:pt idx="3">
                  <c:v>0.46675018422991893</c:v>
                </c:pt>
                <c:pt idx="4">
                  <c:v>0.51831930375231849</c:v>
                </c:pt>
                <c:pt idx="5">
                  <c:v>0.49291899562686436</c:v>
                </c:pt>
                <c:pt idx="6">
                  <c:v>0.53619298995827003</c:v>
                </c:pt>
                <c:pt idx="7">
                  <c:v>0.48659883034801082</c:v>
                </c:pt>
                <c:pt idx="8">
                  <c:v>0.42785176829502775</c:v>
                </c:pt>
                <c:pt idx="9">
                  <c:v>0.39096586063657118</c:v>
                </c:pt>
                <c:pt idx="10">
                  <c:v>0.3484147462704274</c:v>
                </c:pt>
                <c:pt idx="11">
                  <c:v>0.30373660664533281</c:v>
                </c:pt>
                <c:pt idx="12">
                  <c:v>0.2705167727695591</c:v>
                </c:pt>
                <c:pt idx="13">
                  <c:v>0.21305568130375735</c:v>
                </c:pt>
                <c:pt idx="14">
                  <c:v>0.15371063642369523</c:v>
                </c:pt>
                <c:pt idx="15">
                  <c:v>9.8519132804170129E-2</c:v>
                </c:pt>
                <c:pt idx="16">
                  <c:v>7.8997096372770428E-2</c:v>
                </c:pt>
                <c:pt idx="17">
                  <c:v>0.10015339899886969</c:v>
                </c:pt>
                <c:pt idx="18">
                  <c:v>4.4307930041108372E-3</c:v>
                </c:pt>
                <c:pt idx="19">
                  <c:v>3.8954919272416988E-3</c:v>
                </c:pt>
                <c:pt idx="20">
                  <c:v>3.4675485096742386E-3</c:v>
                </c:pt>
                <c:pt idx="21">
                  <c:v>3.1446127126560793E-3</c:v>
                </c:pt>
                <c:pt idx="22">
                  <c:v>2.4742329137179176E-3</c:v>
                </c:pt>
                <c:pt idx="23">
                  <c:v>1.4659615015956426E-3</c:v>
                </c:pt>
                <c:pt idx="24">
                  <c:v>1.3093587171650533E-3</c:v>
                </c:pt>
                <c:pt idx="25">
                  <c:v>1.0630708760543284E-3</c:v>
                </c:pt>
                <c:pt idx="26">
                  <c:v>2.4285447412665793E-3</c:v>
                </c:pt>
                <c:pt idx="27">
                  <c:v>2.2151018431707894E-3</c:v>
                </c:pt>
                <c:pt idx="28">
                  <c:v>3.1765375740442918E-3</c:v>
                </c:pt>
                <c:pt idx="29">
                  <c:v>4.1363613873633166E-3</c:v>
                </c:pt>
                <c:pt idx="30">
                  <c:v>4.4324937503938825E-3</c:v>
                </c:pt>
                <c:pt idx="31">
                  <c:v>5.7172819214907286E-3</c:v>
                </c:pt>
                <c:pt idx="32">
                  <c:v>5.9536372590403824E-3</c:v>
                </c:pt>
                <c:pt idx="33">
                  <c:v>7.2903576553211592E-3</c:v>
                </c:pt>
                <c:pt idx="34">
                  <c:v>1.1202922843224557E-2</c:v>
                </c:pt>
                <c:pt idx="35">
                  <c:v>1.7050535120214604E-2</c:v>
                </c:pt>
                <c:pt idx="36">
                  <c:v>2.8315500796283626E-2</c:v>
                </c:pt>
                <c:pt idx="37">
                  <c:v>2.9616787662079678E-2</c:v>
                </c:pt>
                <c:pt idx="38">
                  <c:v>3.8241939156172827E-2</c:v>
                </c:pt>
                <c:pt idx="39">
                  <c:v>4.5625838940163241E-2</c:v>
                </c:pt>
                <c:pt idx="40">
                  <c:v>5.5014645481173602E-2</c:v>
                </c:pt>
                <c:pt idx="41">
                  <c:v>8.3182198402534629E-2</c:v>
                </c:pt>
                <c:pt idx="42">
                  <c:v>0.11236470121375498</c:v>
                </c:pt>
                <c:pt idx="43">
                  <c:v>0.13627855933911587</c:v>
                </c:pt>
                <c:pt idx="44">
                  <c:v>0.131747259293320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L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L$2:$L$46</c:f>
              <c:numCache>
                <c:formatCode>0.0%</c:formatCode>
                <c:ptCount val="45"/>
                <c:pt idx="0">
                  <c:v>0.18039078149554519</c:v>
                </c:pt>
                <c:pt idx="1">
                  <c:v>0.16725368732182228</c:v>
                </c:pt>
                <c:pt idx="2">
                  <c:v>0.13811273201546537</c:v>
                </c:pt>
                <c:pt idx="3">
                  <c:v>9.9804957796614135E-2</c:v>
                </c:pt>
                <c:pt idx="4">
                  <c:v>7.0249322752494986E-2</c:v>
                </c:pt>
                <c:pt idx="5">
                  <c:v>5.3150856772529377E-2</c:v>
                </c:pt>
                <c:pt idx="6">
                  <c:v>4.9517147555208002E-2</c:v>
                </c:pt>
                <c:pt idx="7">
                  <c:v>4.5352588040535623E-2</c:v>
                </c:pt>
                <c:pt idx="8">
                  <c:v>4.1994595092202484E-2</c:v>
                </c:pt>
                <c:pt idx="9">
                  <c:v>4.3956959426412333E-2</c:v>
                </c:pt>
                <c:pt idx="10">
                  <c:v>4.9960593400615164E-2</c:v>
                </c:pt>
                <c:pt idx="11">
                  <c:v>5.4767633357514132E-2</c:v>
                </c:pt>
                <c:pt idx="12">
                  <c:v>7.6023968826742852E-2</c:v>
                </c:pt>
                <c:pt idx="13">
                  <c:v>7.0914159460481838E-2</c:v>
                </c:pt>
                <c:pt idx="14">
                  <c:v>6.7218989864624115E-2</c:v>
                </c:pt>
                <c:pt idx="15">
                  <c:v>6.4303048023636941E-2</c:v>
                </c:pt>
                <c:pt idx="16">
                  <c:v>5.6661151366463172E-2</c:v>
                </c:pt>
                <c:pt idx="17">
                  <c:v>4.8954729575431781E-2</c:v>
                </c:pt>
                <c:pt idx="18">
                  <c:v>4.3530029450882302E-2</c:v>
                </c:pt>
                <c:pt idx="19">
                  <c:v>4.3872952921467402E-2</c:v>
                </c:pt>
                <c:pt idx="20">
                  <c:v>4.2980081084843615E-2</c:v>
                </c:pt>
                <c:pt idx="21">
                  <c:v>4.0302223175953222E-2</c:v>
                </c:pt>
                <c:pt idx="22">
                  <c:v>3.6167126025049727E-2</c:v>
                </c:pt>
                <c:pt idx="23">
                  <c:v>3.9268118786499932E-2</c:v>
                </c:pt>
                <c:pt idx="24">
                  <c:v>5.7899760796848526E-2</c:v>
                </c:pt>
                <c:pt idx="25">
                  <c:v>0.10694176510277585</c:v>
                </c:pt>
                <c:pt idx="26">
                  <c:v>0.13777962887239559</c:v>
                </c:pt>
                <c:pt idx="27">
                  <c:v>0.15121972777813697</c:v>
                </c:pt>
                <c:pt idx="28">
                  <c:v>0.1451109383316051</c:v>
                </c:pt>
                <c:pt idx="29">
                  <c:v>0.12293369130889775</c:v>
                </c:pt>
                <c:pt idx="30">
                  <c:v>0.10798403696539534</c:v>
                </c:pt>
                <c:pt idx="31">
                  <c:v>9.2565081584454811E-2</c:v>
                </c:pt>
                <c:pt idx="32">
                  <c:v>8.214631287995898E-2</c:v>
                </c:pt>
                <c:pt idx="33">
                  <c:v>6.2140745381208305E-2</c:v>
                </c:pt>
                <c:pt idx="34">
                  <c:v>4.3026031437030342E-2</c:v>
                </c:pt>
                <c:pt idx="35">
                  <c:v>3.3776619816651365E-2</c:v>
                </c:pt>
                <c:pt idx="36">
                  <c:v>2.673514996063692E-2</c:v>
                </c:pt>
                <c:pt idx="37">
                  <c:v>2.1819754065351561E-2</c:v>
                </c:pt>
                <c:pt idx="38">
                  <c:v>1.723125981369485E-2</c:v>
                </c:pt>
                <c:pt idx="39">
                  <c:v>1.8888795394464662E-2</c:v>
                </c:pt>
                <c:pt idx="40">
                  <c:v>2.1760261399789892E-2</c:v>
                </c:pt>
                <c:pt idx="41">
                  <c:v>2.1568785422548531E-2</c:v>
                </c:pt>
                <c:pt idx="42">
                  <c:v>2.2976636347422863E-2</c:v>
                </c:pt>
                <c:pt idx="43">
                  <c:v>1.9337265318986087E-2</c:v>
                </c:pt>
                <c:pt idx="44" formatCode="General">
                  <c:v>2.693601036694388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59794312"/>
        <c:axId val="359798624"/>
      </c:lineChart>
      <c:catAx>
        <c:axId val="3597943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798624"/>
        <c:crosses val="autoZero"/>
        <c:auto val="1"/>
        <c:lblAlgn val="ctr"/>
        <c:lblOffset val="100"/>
        <c:tickLblSkip val="1"/>
        <c:noMultiLvlLbl val="1"/>
      </c:catAx>
      <c:valAx>
        <c:axId val="3597986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7943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4275707643454352"/>
          <c:y val="1.4875792985185116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7881422312393831"/>
          <c:h val="0.6760638962375074"/>
        </c:manualLayout>
      </c:layout>
      <c:lineChart>
        <c:grouping val="standard"/>
        <c:varyColors val="0"/>
        <c:ser>
          <c:idx val="9"/>
          <c:order val="0"/>
          <c:tx>
            <c:strRef>
              <c:f>List1!$I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46</c:f>
              <c:strCache>
                <c:ptCount val="45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</c:strCache>
            </c:strRef>
          </c:cat>
          <c:val>
            <c:numRef>
              <c:f>List1!$I$2:$I$46</c:f>
              <c:numCache>
                <c:formatCode>General</c:formatCode>
                <c:ptCount val="45"/>
                <c:pt idx="0">
                  <c:v>7.2901225782039223</c:v>
                </c:pt>
                <c:pt idx="1">
                  <c:v>6.3181062344433991</c:v>
                </c:pt>
                <c:pt idx="2">
                  <c:v>6.2052829088283383</c:v>
                </c:pt>
                <c:pt idx="3">
                  <c:v>5.7800257584331094</c:v>
                </c:pt>
                <c:pt idx="4">
                  <c:v>5.094407087387741</c:v>
                </c:pt>
                <c:pt idx="5">
                  <c:v>4.9729050444176757</c:v>
                </c:pt>
                <c:pt idx="6">
                  <c:v>4.2438927865972831</c:v>
                </c:pt>
                <c:pt idx="7">
                  <c:v>3.2979125949017747</c:v>
                </c:pt>
                <c:pt idx="8">
                  <c:v>2.9594426180565918</c:v>
                </c:pt>
                <c:pt idx="9">
                  <c:v>2.9681213354115967</c:v>
                </c:pt>
                <c:pt idx="10">
                  <c:v>3.0288723568966294</c:v>
                </c:pt>
                <c:pt idx="11">
                  <c:v>3.176410551931709</c:v>
                </c:pt>
                <c:pt idx="12">
                  <c:v>3.8533505056220734</c:v>
                </c:pt>
                <c:pt idx="13">
                  <c:v>4.7038648064125308</c:v>
                </c:pt>
                <c:pt idx="14">
                  <c:v>4.7559371105425585</c:v>
                </c:pt>
                <c:pt idx="15">
                  <c:v>4.6431137849274977</c:v>
                </c:pt>
                <c:pt idx="16">
                  <c:v>4.5736840460874602</c:v>
                </c:pt>
                <c:pt idx="17">
                  <c:v>4.4174671336973761</c:v>
                </c:pt>
                <c:pt idx="18">
                  <c:v>3.4280933552268444</c:v>
                </c:pt>
                <c:pt idx="19">
                  <c:v>2.334574968496256</c:v>
                </c:pt>
                <c:pt idx="20">
                  <c:v>1.9700688395860599</c:v>
                </c:pt>
                <c:pt idx="21">
                  <c:v>1.5795265586108498</c:v>
                </c:pt>
                <c:pt idx="22">
                  <c:v>1.1629481255706258</c:v>
                </c:pt>
                <c:pt idx="23">
                  <c:v>0.78976327930542489</c:v>
                </c:pt>
                <c:pt idx="24">
                  <c:v>0.5554379107202988</c:v>
                </c:pt>
                <c:pt idx="25">
                  <c:v>0.37318484626520076</c:v>
                </c:pt>
                <c:pt idx="26">
                  <c:v>0.26036152065014007</c:v>
                </c:pt>
                <c:pt idx="27">
                  <c:v>0.14753819503507937</c:v>
                </c:pt>
                <c:pt idx="28">
                  <c:v>0.15621691239008403</c:v>
                </c:pt>
                <c:pt idx="29">
                  <c:v>0.2777189553601494</c:v>
                </c:pt>
                <c:pt idx="30">
                  <c:v>0.3818635636202054</c:v>
                </c:pt>
                <c:pt idx="31">
                  <c:v>0.3905422809752101</c:v>
                </c:pt>
                <c:pt idx="32">
                  <c:v>0.5467591933652941</c:v>
                </c:pt>
                <c:pt idx="33">
                  <c:v>0.63354636691534083</c:v>
                </c:pt>
                <c:pt idx="34">
                  <c:v>0.62486764956033614</c:v>
                </c:pt>
                <c:pt idx="35">
                  <c:v>0.76372712724041081</c:v>
                </c:pt>
                <c:pt idx="36">
                  <c:v>0.75504840988540622</c:v>
                </c:pt>
                <c:pt idx="37">
                  <c:v>0.80712071401543428</c:v>
                </c:pt>
                <c:pt idx="38">
                  <c:v>0.95465890905051365</c:v>
                </c:pt>
                <c:pt idx="39">
                  <c:v>1.0240886478905511</c:v>
                </c:pt>
                <c:pt idx="40">
                  <c:v>1.3278437553157143</c:v>
                </c:pt>
                <c:pt idx="41">
                  <c:v>1.7270647536459289</c:v>
                </c:pt>
                <c:pt idx="42">
                  <c:v>2.2391090775912046</c:v>
                </c:pt>
                <c:pt idx="43">
                  <c:v>2.6383300759214192</c:v>
                </c:pt>
                <c:pt idx="44">
                  <c:v>2.89869159657155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46</c:f>
              <c:strCache>
                <c:ptCount val="45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</c:strCache>
            </c:strRef>
          </c:cat>
          <c:val>
            <c:numRef>
              <c:f>List1!$C$2:$C$46</c:f>
              <c:numCache>
                <c:formatCode>General</c:formatCode>
                <c:ptCount val="45"/>
                <c:pt idx="0">
                  <c:v>20.665911784235913</c:v>
                </c:pt>
                <c:pt idx="1">
                  <c:v>22.367810401761222</c:v>
                </c:pt>
                <c:pt idx="2">
                  <c:v>20.619156327710492</c:v>
                </c:pt>
                <c:pt idx="3">
                  <c:v>18.861151162354677</c:v>
                </c:pt>
                <c:pt idx="4">
                  <c:v>17.729669114439496</c:v>
                </c:pt>
                <c:pt idx="5">
                  <c:v>17.449136375286972</c:v>
                </c:pt>
                <c:pt idx="6">
                  <c:v>19.048172988456358</c:v>
                </c:pt>
                <c:pt idx="7">
                  <c:v>21.479456727778231</c:v>
                </c:pt>
                <c:pt idx="8">
                  <c:v>24.509210310625484</c:v>
                </c:pt>
                <c:pt idx="9">
                  <c:v>27.679230263049003</c:v>
                </c:pt>
                <c:pt idx="10">
                  <c:v>27.735336810879506</c:v>
                </c:pt>
                <c:pt idx="11">
                  <c:v>24.527912493235654</c:v>
                </c:pt>
                <c:pt idx="12">
                  <c:v>20.899689066863015</c:v>
                </c:pt>
                <c:pt idx="13">
                  <c:v>17.056390540473441</c:v>
                </c:pt>
                <c:pt idx="14">
                  <c:v>12.717484174914407</c:v>
                </c:pt>
                <c:pt idx="15">
                  <c:v>9.2482293007281964</c:v>
                </c:pt>
                <c:pt idx="16">
                  <c:v>7.0507228440334284</c:v>
                </c:pt>
                <c:pt idx="17">
                  <c:v>5.5171438699996322</c:v>
                </c:pt>
                <c:pt idx="18">
                  <c:v>3.9555116220505839</c:v>
                </c:pt>
                <c:pt idx="19">
                  <c:v>2.5528479262879653</c:v>
                </c:pt>
                <c:pt idx="20">
                  <c:v>1.5242278827287119</c:v>
                </c:pt>
                <c:pt idx="21">
                  <c:v>0.87900258267790754</c:v>
                </c:pt>
                <c:pt idx="22">
                  <c:v>0.5984698435253839</c:v>
                </c:pt>
                <c:pt idx="23">
                  <c:v>0.37404365220336494</c:v>
                </c:pt>
                <c:pt idx="24">
                  <c:v>0.22442619132201896</c:v>
                </c:pt>
                <c:pt idx="25">
                  <c:v>0.16831964349151421</c:v>
                </c:pt>
                <c:pt idx="26">
                  <c:v>9.3510913050841235E-2</c:v>
                </c:pt>
                <c:pt idx="27">
                  <c:v>5.6106547830504741E-2</c:v>
                </c:pt>
                <c:pt idx="28">
                  <c:v>5.6106547830504741E-2</c:v>
                </c:pt>
                <c:pt idx="29">
                  <c:v>6.5457639135588858E-2</c:v>
                </c:pt>
                <c:pt idx="30">
                  <c:v>7.4808730440672988E-2</c:v>
                </c:pt>
                <c:pt idx="31">
                  <c:v>8.4159821745757105E-2</c:v>
                </c:pt>
                <c:pt idx="32">
                  <c:v>0.13091527827117772</c:v>
                </c:pt>
                <c:pt idx="33">
                  <c:v>0.15896855218643008</c:v>
                </c:pt>
                <c:pt idx="34">
                  <c:v>9.3510913050841235E-2</c:v>
                </c:pt>
                <c:pt idx="35">
                  <c:v>7.4808730440672988E-2</c:v>
                </c:pt>
                <c:pt idx="36">
                  <c:v>0.19637291740676657</c:v>
                </c:pt>
                <c:pt idx="37">
                  <c:v>0.26183055654235543</c:v>
                </c:pt>
                <c:pt idx="38">
                  <c:v>0.26183055654235543</c:v>
                </c:pt>
                <c:pt idx="39">
                  <c:v>0.3833947435084491</c:v>
                </c:pt>
                <c:pt idx="40">
                  <c:v>0.73873621310164572</c:v>
                </c:pt>
                <c:pt idx="41">
                  <c:v>1.299801691406693</c:v>
                </c:pt>
                <c:pt idx="42">
                  <c:v>2.3190706436608628</c:v>
                </c:pt>
                <c:pt idx="43">
                  <c:v>4.3202041829488644</c:v>
                </c:pt>
                <c:pt idx="44">
                  <c:v>6.82629665271140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46</c:f>
              <c:strCache>
                <c:ptCount val="45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</c:strCache>
            </c:strRef>
          </c:cat>
          <c:val>
            <c:numRef>
              <c:f>List1!$D$2:$D$46</c:f>
              <c:numCache>
                <c:formatCode>General</c:formatCode>
                <c:ptCount val="45"/>
                <c:pt idx="0">
                  <c:v>9.4444141415113698</c:v>
                </c:pt>
                <c:pt idx="1">
                  <c:v>10.246550605244641</c:v>
                </c:pt>
                <c:pt idx="2">
                  <c:v>10.21387097153699</c:v>
                </c:pt>
                <c:pt idx="3">
                  <c:v>9.7830939817543072</c:v>
                </c:pt>
                <c:pt idx="4">
                  <c:v>9.2706179077024942</c:v>
                </c:pt>
                <c:pt idx="5">
                  <c:v>8.900743871647709</c:v>
                </c:pt>
                <c:pt idx="6">
                  <c:v>8.0941510942270298</c:v>
                </c:pt>
                <c:pt idx="7">
                  <c:v>7.0008688029164974</c:v>
                </c:pt>
                <c:pt idx="8">
                  <c:v>6.3160819329516107</c:v>
                </c:pt>
                <c:pt idx="9">
                  <c:v>5.8867903810647313</c:v>
                </c:pt>
                <c:pt idx="10">
                  <c:v>5.5273144102805611</c:v>
                </c:pt>
                <c:pt idx="11">
                  <c:v>5.4990910902603165</c:v>
                </c:pt>
                <c:pt idx="12">
                  <c:v>5.7397320293802983</c:v>
                </c:pt>
                <c:pt idx="13">
                  <c:v>6.1497128886217478</c:v>
                </c:pt>
                <c:pt idx="14">
                  <c:v>6.1408002612469339</c:v>
                </c:pt>
                <c:pt idx="15">
                  <c:v>6.0650429285610139</c:v>
                </c:pt>
                <c:pt idx="16">
                  <c:v>6.0709846801442229</c:v>
                </c:pt>
                <c:pt idx="17">
                  <c:v>5.2658773406193466</c:v>
                </c:pt>
                <c:pt idx="18">
                  <c:v>4.1235755987473359</c:v>
                </c:pt>
                <c:pt idx="19">
                  <c:v>3.251623553911354</c:v>
                </c:pt>
                <c:pt idx="20">
                  <c:v>2.6128852587163416</c:v>
                </c:pt>
                <c:pt idx="21">
                  <c:v>2.0662441130610754</c:v>
                </c:pt>
                <c:pt idx="22">
                  <c:v>1.4572145757821098</c:v>
                </c:pt>
                <c:pt idx="23">
                  <c:v>1.0561463439154741</c:v>
                </c:pt>
                <c:pt idx="24">
                  <c:v>0.84818503850314442</c:v>
                </c:pt>
                <c:pt idx="25">
                  <c:v>0.66250530152785003</c:v>
                </c:pt>
                <c:pt idx="26">
                  <c:v>0.54367026986366174</c:v>
                </c:pt>
                <c:pt idx="27">
                  <c:v>0.42334980030367103</c:v>
                </c:pt>
                <c:pt idx="28">
                  <c:v>0.39364104238762399</c:v>
                </c:pt>
                <c:pt idx="29">
                  <c:v>0.64170917098661717</c:v>
                </c:pt>
                <c:pt idx="30">
                  <c:v>0.95216569120930927</c:v>
                </c:pt>
                <c:pt idx="31">
                  <c:v>1.2136027608705235</c:v>
                </c:pt>
                <c:pt idx="32">
                  <c:v>1.8998750687312114</c:v>
                </c:pt>
                <c:pt idx="33">
                  <c:v>2.3024287384936493</c:v>
                </c:pt>
                <c:pt idx="34">
                  <c:v>2.1137781257267507</c:v>
                </c:pt>
                <c:pt idx="35">
                  <c:v>1.926612950855654</c:v>
                </c:pt>
                <c:pt idx="36">
                  <c:v>1.6339816853825899</c:v>
                </c:pt>
                <c:pt idx="37">
                  <c:v>1.332437792534712</c:v>
                </c:pt>
                <c:pt idx="38">
                  <c:v>1.0828842260399165</c:v>
                </c:pt>
                <c:pt idx="39">
                  <c:v>0.84521416271153971</c:v>
                </c:pt>
                <c:pt idx="40">
                  <c:v>0.67587424259007134</c:v>
                </c:pt>
                <c:pt idx="41">
                  <c:v>0.60902953727896536</c:v>
                </c:pt>
                <c:pt idx="42">
                  <c:v>0.60902953727896536</c:v>
                </c:pt>
                <c:pt idx="43">
                  <c:v>0.65507811204883837</c:v>
                </c:pt>
                <c:pt idx="44">
                  <c:v>0.704097562610316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46</c:f>
              <c:strCache>
                <c:ptCount val="45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</c:strCache>
            </c:strRef>
          </c:cat>
          <c:val>
            <c:numRef>
              <c:f>List1!$F$2:$F$46</c:f>
              <c:numCache>
                <c:formatCode>General</c:formatCode>
                <c:ptCount val="45"/>
                <c:pt idx="0">
                  <c:v>10.98899477491239</c:v>
                </c:pt>
                <c:pt idx="1">
                  <c:v>11.029235219617592</c:v>
                </c:pt>
                <c:pt idx="2">
                  <c:v>10.735815310308825</c:v>
                </c:pt>
                <c:pt idx="3">
                  <c:v>10.003103879634928</c:v>
                </c:pt>
                <c:pt idx="4">
                  <c:v>9.0524233734745181</c:v>
                </c:pt>
                <c:pt idx="5">
                  <c:v>7.8603001990828938</c:v>
                </c:pt>
                <c:pt idx="6">
                  <c:v>7.0387244530183413</c:v>
                </c:pt>
                <c:pt idx="7">
                  <c:v>6.8911761557659323</c:v>
                </c:pt>
                <c:pt idx="8">
                  <c:v>7.1695058983102502</c:v>
                </c:pt>
                <c:pt idx="9">
                  <c:v>7.8971872733959954</c:v>
                </c:pt>
                <c:pt idx="10">
                  <c:v>8.8763714278892571</c:v>
                </c:pt>
                <c:pt idx="11">
                  <c:v>9.7197440815024603</c:v>
                </c:pt>
                <c:pt idx="12">
                  <c:v>10.123825213750536</c:v>
                </c:pt>
                <c:pt idx="13">
                  <c:v>10.04837437992828</c:v>
                </c:pt>
                <c:pt idx="14">
                  <c:v>8.9853559656325146</c:v>
                </c:pt>
                <c:pt idx="15">
                  <c:v>7.7278420685949349</c:v>
                </c:pt>
                <c:pt idx="16">
                  <c:v>6.6061396724374157</c:v>
                </c:pt>
                <c:pt idx="17">
                  <c:v>5.3704226829484867</c:v>
                </c:pt>
                <c:pt idx="18">
                  <c:v>4.3057275834566706</c:v>
                </c:pt>
                <c:pt idx="19">
                  <c:v>3.251092595141154</c:v>
                </c:pt>
                <c:pt idx="20">
                  <c:v>2.3087955149609951</c:v>
                </c:pt>
                <c:pt idx="21">
                  <c:v>1.6364447513449027</c:v>
                </c:pt>
                <c:pt idx="22">
                  <c:v>1.1636195260587729</c:v>
                </c:pt>
                <c:pt idx="23">
                  <c:v>0.83498922763295247</c:v>
                </c:pt>
                <c:pt idx="24">
                  <c:v>0.58683981861753687</c:v>
                </c:pt>
                <c:pt idx="25">
                  <c:v>0.41078787303227576</c:v>
                </c:pt>
                <c:pt idx="26">
                  <c:v>0.3118634464653196</c:v>
                </c:pt>
                <c:pt idx="27">
                  <c:v>0.24311935342726523</c:v>
                </c:pt>
                <c:pt idx="28">
                  <c:v>0.22970587185886443</c:v>
                </c:pt>
                <c:pt idx="29">
                  <c:v>0.27497637215221726</c:v>
                </c:pt>
                <c:pt idx="30">
                  <c:v>0.39569770626782486</c:v>
                </c:pt>
                <c:pt idx="31">
                  <c:v>0.63378700410693978</c:v>
                </c:pt>
                <c:pt idx="32">
                  <c:v>0.91211674665125719</c:v>
                </c:pt>
                <c:pt idx="33">
                  <c:v>1.130085822137771</c:v>
                </c:pt>
                <c:pt idx="34">
                  <c:v>1.2776341193901801</c:v>
                </c:pt>
                <c:pt idx="35">
                  <c:v>1.3296113604677335</c:v>
                </c:pt>
                <c:pt idx="36">
                  <c:v>1.2809874897822804</c:v>
                </c:pt>
                <c:pt idx="37">
                  <c:v>1.1870931188034746</c:v>
                </c:pt>
                <c:pt idx="38">
                  <c:v>1.0428981919431655</c:v>
                </c:pt>
                <c:pt idx="39">
                  <c:v>0.860139505573704</c:v>
                </c:pt>
                <c:pt idx="40">
                  <c:v>0.74612491224229682</c:v>
                </c:pt>
                <c:pt idx="41">
                  <c:v>0.74109485665414654</c:v>
                </c:pt>
                <c:pt idx="42">
                  <c:v>0.80983894969220094</c:v>
                </c:pt>
                <c:pt idx="43">
                  <c:v>0.88361309831840551</c:v>
                </c:pt>
                <c:pt idx="44">
                  <c:v>0.878583042730255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K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6</c:f>
              <c:strCache>
                <c:ptCount val="45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</c:strCache>
            </c:strRef>
          </c:cat>
          <c:val>
            <c:numRef>
              <c:f>List1!$K$2:$K$46</c:f>
              <c:numCache>
                <c:formatCode>General</c:formatCode>
                <c:ptCount val="45"/>
                <c:pt idx="0">
                  <c:v>17.421520757506556</c:v>
                </c:pt>
                <c:pt idx="1">
                  <c:v>15.190092129341792</c:v>
                </c:pt>
                <c:pt idx="2">
                  <c:v>13.296448568743253</c:v>
                </c:pt>
                <c:pt idx="3">
                  <c:v>11.556343675220271</c:v>
                </c:pt>
                <c:pt idx="4">
                  <c:v>10.635111672766929</c:v>
                </c:pt>
                <c:pt idx="5">
                  <c:v>10.287090694062332</c:v>
                </c:pt>
                <c:pt idx="6">
                  <c:v>10.67605531732041</c:v>
                </c:pt>
                <c:pt idx="7">
                  <c:v>13.398807680126959</c:v>
                </c:pt>
                <c:pt idx="8">
                  <c:v>17.534115780028632</c:v>
                </c:pt>
                <c:pt idx="9">
                  <c:v>22.498532682138315</c:v>
                </c:pt>
                <c:pt idx="10">
                  <c:v>28.619607542883863</c:v>
                </c:pt>
                <c:pt idx="11">
                  <c:v>34.904456981843332</c:v>
                </c:pt>
                <c:pt idx="12">
                  <c:v>38.272071746367224</c:v>
                </c:pt>
                <c:pt idx="13">
                  <c:v>35.15011884916423</c:v>
                </c:pt>
                <c:pt idx="14">
                  <c:v>28.650315276298972</c:v>
                </c:pt>
                <c:pt idx="15">
                  <c:v>22.273342637094164</c:v>
                </c:pt>
                <c:pt idx="16">
                  <c:v>16.623119688713658</c:v>
                </c:pt>
                <c:pt idx="17">
                  <c:v>12.283093366044577</c:v>
                </c:pt>
                <c:pt idx="18">
                  <c:v>8.6902885564765366</c:v>
                </c:pt>
                <c:pt idx="19">
                  <c:v>5.7525820597642099</c:v>
                </c:pt>
                <c:pt idx="20">
                  <c:v>3.5006816093227044</c:v>
                </c:pt>
                <c:pt idx="21">
                  <c:v>2.1393054279194303</c:v>
                </c:pt>
                <c:pt idx="22">
                  <c:v>1.4330275593718671</c:v>
                </c:pt>
                <c:pt idx="23">
                  <c:v>0.79840106879289741</c:v>
                </c:pt>
                <c:pt idx="24">
                  <c:v>0.53226737919526501</c:v>
                </c:pt>
                <c:pt idx="25">
                  <c:v>0.32754915642785537</c:v>
                </c:pt>
                <c:pt idx="26">
                  <c:v>0.18424640049066862</c:v>
                </c:pt>
                <c:pt idx="27">
                  <c:v>0.18424640049066862</c:v>
                </c:pt>
                <c:pt idx="28">
                  <c:v>9.2123200245334311E-2</c:v>
                </c:pt>
                <c:pt idx="29">
                  <c:v>7.1651377968593361E-2</c:v>
                </c:pt>
                <c:pt idx="30">
                  <c:v>0.12283093366044574</c:v>
                </c:pt>
                <c:pt idx="31">
                  <c:v>0.11259502252207527</c:v>
                </c:pt>
                <c:pt idx="32">
                  <c:v>0.17401048935229815</c:v>
                </c:pt>
                <c:pt idx="33">
                  <c:v>0.20471822276740961</c:v>
                </c:pt>
                <c:pt idx="34">
                  <c:v>0.21495413390578008</c:v>
                </c:pt>
                <c:pt idx="35">
                  <c:v>0.4503800900883011</c:v>
                </c:pt>
                <c:pt idx="36">
                  <c:v>0.69604195740919261</c:v>
                </c:pt>
                <c:pt idx="37">
                  <c:v>0.82910880220800887</c:v>
                </c:pt>
                <c:pt idx="38">
                  <c:v>1.1464220474974938</c:v>
                </c:pt>
                <c:pt idx="39">
                  <c:v>1.3409043591265328</c:v>
                </c:pt>
                <c:pt idx="40">
                  <c:v>1.8015203603532044</c:v>
                </c:pt>
                <c:pt idx="41">
                  <c:v>3.1014810749262551</c:v>
                </c:pt>
                <c:pt idx="42">
                  <c:v>5.5376279258584296</c:v>
                </c:pt>
                <c:pt idx="43">
                  <c:v>9.4579818918543239</c:v>
                </c:pt>
                <c:pt idx="44">
                  <c:v>13.460223146957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46</c:f>
              <c:strCache>
                <c:ptCount val="45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</c:strCache>
            </c:strRef>
          </c:cat>
          <c:val>
            <c:numRef>
              <c:f>List1!$E$2:$E$46</c:f>
              <c:numCache>
                <c:formatCode>General</c:formatCode>
                <c:ptCount val="45"/>
                <c:pt idx="0">
                  <c:v>13.756706093619599</c:v>
                </c:pt>
                <c:pt idx="1">
                  <c:v>12.834462096258681</c:v>
                </c:pt>
                <c:pt idx="2">
                  <c:v>11.985564753185924</c:v>
                </c:pt>
                <c:pt idx="3">
                  <c:v>10.819232709587373</c:v>
                </c:pt>
                <c:pt idx="4">
                  <c:v>9.0553057941656494</c:v>
                </c:pt>
                <c:pt idx="5">
                  <c:v>7.3250461954663573</c:v>
                </c:pt>
                <c:pt idx="6">
                  <c:v>5.7402775011747185</c:v>
                </c:pt>
                <c:pt idx="7">
                  <c:v>4.5450877575283695</c:v>
                </c:pt>
                <c:pt idx="8">
                  <c:v>3.7130240728168267</c:v>
                </c:pt>
                <c:pt idx="9">
                  <c:v>3.1454893052101101</c:v>
                </c:pt>
                <c:pt idx="10">
                  <c:v>2.8424834547082183</c:v>
                </c:pt>
                <c:pt idx="11">
                  <c:v>2.8088161379857861</c:v>
                </c:pt>
                <c:pt idx="12">
                  <c:v>3.1166316051623104</c:v>
                </c:pt>
                <c:pt idx="13">
                  <c:v>3.5001985349643077</c:v>
                </c:pt>
                <c:pt idx="14">
                  <c:v>3.6709399269137863</c:v>
                </c:pt>
                <c:pt idx="15">
                  <c:v>3.750298602045234</c:v>
                </c:pt>
                <c:pt idx="16">
                  <c:v>3.8356692980199738</c:v>
                </c:pt>
                <c:pt idx="17">
                  <c:v>3.624046164336113</c:v>
                </c:pt>
                <c:pt idx="18">
                  <c:v>3.0889763092831695</c:v>
                </c:pt>
                <c:pt idx="19">
                  <c:v>2.4925838416286532</c:v>
                </c:pt>
                <c:pt idx="20">
                  <c:v>1.9430851365518109</c:v>
                </c:pt>
                <c:pt idx="21">
                  <c:v>1.3983960481496016</c:v>
                </c:pt>
                <c:pt idx="22">
                  <c:v>0.92104159319225687</c:v>
                </c:pt>
                <c:pt idx="23">
                  <c:v>0.63126218854560689</c:v>
                </c:pt>
                <c:pt idx="24">
                  <c:v>0.44609194657222884</c:v>
                </c:pt>
                <c:pt idx="25">
                  <c:v>0.27775536296006703</c:v>
                </c:pt>
                <c:pt idx="26">
                  <c:v>0.18517024197337803</c:v>
                </c:pt>
                <c:pt idx="27">
                  <c:v>0.14068128773302097</c:v>
                </c:pt>
                <c:pt idx="28">
                  <c:v>0.13947888356436267</c:v>
                </c:pt>
                <c:pt idx="29">
                  <c:v>0.12745484187777967</c:v>
                </c:pt>
                <c:pt idx="30">
                  <c:v>0.12505003354046307</c:v>
                </c:pt>
                <c:pt idx="31">
                  <c:v>0.15631254192557886</c:v>
                </c:pt>
                <c:pt idx="32">
                  <c:v>0.24048083373165979</c:v>
                </c:pt>
                <c:pt idx="33">
                  <c:v>0.34508999640493176</c:v>
                </c:pt>
                <c:pt idx="34">
                  <c:v>0.51222417584843527</c:v>
                </c:pt>
                <c:pt idx="35">
                  <c:v>0.70460884283376313</c:v>
                </c:pt>
                <c:pt idx="36">
                  <c:v>0.88617187230116634</c:v>
                </c:pt>
                <c:pt idx="37">
                  <c:v>0.98236420579383021</c:v>
                </c:pt>
                <c:pt idx="38">
                  <c:v>0.92585120986689018</c:v>
                </c:pt>
                <c:pt idx="39">
                  <c:v>0.90420793483104078</c:v>
                </c:pt>
                <c:pt idx="40">
                  <c:v>0.94869688907139793</c:v>
                </c:pt>
                <c:pt idx="41">
                  <c:v>1.1242478976955095</c:v>
                </c:pt>
                <c:pt idx="42">
                  <c:v>1.4837667441243407</c:v>
                </c:pt>
                <c:pt idx="43">
                  <c:v>1.8877745447935292</c:v>
                </c:pt>
                <c:pt idx="44">
                  <c:v>1.99839572831009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46</c:f>
              <c:strCache>
                <c:ptCount val="45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</c:strCache>
            </c:strRef>
          </c:cat>
          <c:val>
            <c:numRef>
              <c:f>List1!$G$2:$G$46</c:f>
              <c:numCache>
                <c:formatCode>General</c:formatCode>
                <c:ptCount val="45"/>
                <c:pt idx="0">
                  <c:v>7.5082212725085071</c:v>
                </c:pt>
                <c:pt idx="1">
                  <c:v>6.9280144258953786</c:v>
                </c:pt>
                <c:pt idx="2">
                  <c:v>6.255893623383141</c:v>
                </c:pt>
                <c:pt idx="3">
                  <c:v>5.5435604651650419</c:v>
                </c:pt>
                <c:pt idx="4">
                  <c:v>4.8139934402158602</c:v>
                </c:pt>
                <c:pt idx="5">
                  <c:v>4.5956977949554751</c:v>
                </c:pt>
                <c:pt idx="6">
                  <c:v>4.6129316616865577</c:v>
                </c:pt>
                <c:pt idx="7">
                  <c:v>3.9005985034684594</c:v>
                </c:pt>
                <c:pt idx="8">
                  <c:v>2.9699696999899756</c:v>
                </c:pt>
                <c:pt idx="9">
                  <c:v>2.487421431519651</c:v>
                </c:pt>
                <c:pt idx="10">
                  <c:v>2.0738086299736578</c:v>
                </c:pt>
                <c:pt idx="11">
                  <c:v>1.8497683624695784</c:v>
                </c:pt>
                <c:pt idx="12">
                  <c:v>1.7348759175956918</c:v>
                </c:pt>
                <c:pt idx="13">
                  <c:v>1.6659404506713598</c:v>
                </c:pt>
                <c:pt idx="14">
                  <c:v>1.6487065839402768</c:v>
                </c:pt>
                <c:pt idx="15">
                  <c:v>1.6659404506713598</c:v>
                </c:pt>
                <c:pt idx="16">
                  <c:v>1.5970049837470275</c:v>
                </c:pt>
                <c:pt idx="17">
                  <c:v>1.5797711170159445</c:v>
                </c:pt>
                <c:pt idx="18">
                  <c:v>1.3097738715623102</c:v>
                </c:pt>
                <c:pt idx="19">
                  <c:v>1.0282873816212874</c:v>
                </c:pt>
                <c:pt idx="20">
                  <c:v>0.7870132473861251</c:v>
                </c:pt>
                <c:pt idx="21">
                  <c:v>0.6319084468063777</c:v>
                </c:pt>
                <c:pt idx="22">
                  <c:v>0.46531440173924177</c:v>
                </c:pt>
                <c:pt idx="23">
                  <c:v>0.1953171562856077</c:v>
                </c:pt>
                <c:pt idx="24">
                  <c:v>0.12063706711758121</c:v>
                </c:pt>
                <c:pt idx="25">
                  <c:v>9.1913955899109501E-2</c:v>
                </c:pt>
                <c:pt idx="26">
                  <c:v>0.1034032003864982</c:v>
                </c:pt>
                <c:pt idx="27">
                  <c:v>0.14936017833605295</c:v>
                </c:pt>
                <c:pt idx="28">
                  <c:v>0.24701875647885677</c:v>
                </c:pt>
                <c:pt idx="29">
                  <c:v>0.35042195686535493</c:v>
                </c:pt>
                <c:pt idx="30">
                  <c:v>0.47680364622663046</c:v>
                </c:pt>
                <c:pt idx="31">
                  <c:v>0.53424986866357393</c:v>
                </c:pt>
                <c:pt idx="32">
                  <c:v>0.45956977949554745</c:v>
                </c:pt>
                <c:pt idx="33">
                  <c:v>0.49403751295771353</c:v>
                </c:pt>
                <c:pt idx="34">
                  <c:v>0.51127137968879655</c:v>
                </c:pt>
                <c:pt idx="35">
                  <c:v>0.44808053500815886</c:v>
                </c:pt>
                <c:pt idx="36">
                  <c:v>0.46531440173924177</c:v>
                </c:pt>
                <c:pt idx="37">
                  <c:v>0.367655823596438</c:v>
                </c:pt>
                <c:pt idx="38">
                  <c:v>0.29297573442841152</c:v>
                </c:pt>
                <c:pt idx="39">
                  <c:v>0.29872035667210589</c:v>
                </c:pt>
                <c:pt idx="40">
                  <c:v>0.39063431257121539</c:v>
                </c:pt>
                <c:pt idx="41">
                  <c:v>0.71807778046179294</c:v>
                </c:pt>
                <c:pt idx="42">
                  <c:v>1.2236045379068952</c:v>
                </c:pt>
                <c:pt idx="43">
                  <c:v>1.6774296951587484</c:v>
                </c:pt>
                <c:pt idx="44">
                  <c:v>1.67168507291505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J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46</c:f>
              <c:strCache>
                <c:ptCount val="45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</c:strCache>
            </c:strRef>
          </c:cat>
          <c:val>
            <c:numRef>
              <c:f>List1!$J$2:$J$46</c:f>
              <c:numCache>
                <c:formatCode>General</c:formatCode>
                <c:ptCount val="45"/>
                <c:pt idx="0">
                  <c:v>10.780296968202181</c:v>
                </c:pt>
                <c:pt idx="1">
                  <c:v>11.23079324913145</c:v>
                </c:pt>
                <c:pt idx="2">
                  <c:v>11.064820935104878</c:v>
                </c:pt>
                <c:pt idx="3">
                  <c:v>10.148021486196187</c:v>
                </c:pt>
                <c:pt idx="4">
                  <c:v>9.8819388875186647</c:v>
                </c:pt>
                <c:pt idx="5">
                  <c:v>9.6079528453160687</c:v>
                </c:pt>
                <c:pt idx="6">
                  <c:v>8.1589881990523345</c:v>
                </c:pt>
                <c:pt idx="7">
                  <c:v>7.8533883827494391</c:v>
                </c:pt>
                <c:pt idx="8">
                  <c:v>8.2459260778281589</c:v>
                </c:pt>
                <c:pt idx="9">
                  <c:v>9.0072911374103768</c:v>
                </c:pt>
                <c:pt idx="10">
                  <c:v>10.651207390625958</c:v>
                </c:pt>
                <c:pt idx="11">
                  <c:v>12.474268363743237</c:v>
                </c:pt>
                <c:pt idx="12">
                  <c:v>14.932239300041536</c:v>
                </c:pt>
                <c:pt idx="13">
                  <c:v>17.324348206964206</c:v>
                </c:pt>
                <c:pt idx="14">
                  <c:v>18.762774928527843</c:v>
                </c:pt>
                <c:pt idx="15">
                  <c:v>18.472981999275095</c:v>
                </c:pt>
                <c:pt idx="16">
                  <c:v>15.949149033601175</c:v>
                </c:pt>
                <c:pt idx="17">
                  <c:v>12.181840953315465</c:v>
                </c:pt>
                <c:pt idx="18">
                  <c:v>9.5737045900407445</c:v>
                </c:pt>
                <c:pt idx="19">
                  <c:v>7.7559125792735149</c:v>
                </c:pt>
                <c:pt idx="20">
                  <c:v>5.4928932499270644</c:v>
                </c:pt>
                <c:pt idx="21">
                  <c:v>3.2509497699808141</c:v>
                </c:pt>
                <c:pt idx="22">
                  <c:v>2.2208676305460506</c:v>
                </c:pt>
                <c:pt idx="23">
                  <c:v>1.7967161613670302</c:v>
                </c:pt>
                <c:pt idx="24">
                  <c:v>1.0801372817602382</c:v>
                </c:pt>
                <c:pt idx="25">
                  <c:v>0.68233062433146752</c:v>
                </c:pt>
                <c:pt idx="26">
                  <c:v>0.48737901737961964</c:v>
                </c:pt>
                <c:pt idx="27">
                  <c:v>0.35302047745334614</c:v>
                </c:pt>
                <c:pt idx="28">
                  <c:v>0.21602745635204759</c:v>
                </c:pt>
                <c:pt idx="29">
                  <c:v>0.12908957757622355</c:v>
                </c:pt>
                <c:pt idx="30">
                  <c:v>0.12645509640119862</c:v>
                </c:pt>
                <c:pt idx="31">
                  <c:v>0.11328269052607376</c:v>
                </c:pt>
                <c:pt idx="32">
                  <c:v>8.9572359950849015E-2</c:v>
                </c:pt>
                <c:pt idx="33">
                  <c:v>0.1080137281760238</c:v>
                </c:pt>
                <c:pt idx="34">
                  <c:v>0.16070335167652322</c:v>
                </c:pt>
                <c:pt idx="35">
                  <c:v>0.22129641870209754</c:v>
                </c:pt>
                <c:pt idx="36">
                  <c:v>0.28715844807772184</c:v>
                </c:pt>
                <c:pt idx="37">
                  <c:v>0.38463425155364572</c:v>
                </c:pt>
                <c:pt idx="38">
                  <c:v>0.545337603230169</c:v>
                </c:pt>
                <c:pt idx="39">
                  <c:v>0.79034435250749135</c:v>
                </c:pt>
                <c:pt idx="40">
                  <c:v>1.1170200182105876</c:v>
                </c:pt>
                <c:pt idx="41">
                  <c:v>1.5385370062145829</c:v>
                </c:pt>
                <c:pt idx="42">
                  <c:v>2.357860651647349</c:v>
                </c:pt>
                <c:pt idx="43">
                  <c:v>3.4985910004331613</c:v>
                </c:pt>
                <c:pt idx="44">
                  <c:v>4.90540394789649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46</c:f>
              <c:strCache>
                <c:ptCount val="45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</c:strCache>
            </c:strRef>
          </c:cat>
          <c:val>
            <c:numRef>
              <c:f>List1!$B$2:$B$46</c:f>
              <c:numCache>
                <c:formatCode>General</c:formatCode>
                <c:ptCount val="45"/>
                <c:pt idx="0">
                  <c:v>8.3360820683909242</c:v>
                </c:pt>
                <c:pt idx="1">
                  <c:v>7.8754629783585433</c:v>
                </c:pt>
                <c:pt idx="2">
                  <c:v>7.3474362166141036</c:v>
                </c:pt>
                <c:pt idx="3">
                  <c:v>6.5722479919254599</c:v>
                </c:pt>
                <c:pt idx="4">
                  <c:v>5.6734790357647134</c:v>
                </c:pt>
                <c:pt idx="5">
                  <c:v>4.505079392755742</c:v>
                </c:pt>
                <c:pt idx="6">
                  <c:v>3.7523603919711168</c:v>
                </c:pt>
                <c:pt idx="7">
                  <c:v>3.347914361698781</c:v>
                </c:pt>
                <c:pt idx="8">
                  <c:v>3.134456734610604</c:v>
                </c:pt>
                <c:pt idx="9">
                  <c:v>3.2692720780347155</c:v>
                </c:pt>
                <c:pt idx="10">
                  <c:v>3.8197680636831732</c:v>
                </c:pt>
                <c:pt idx="11">
                  <c:v>4.0332256907713511</c:v>
                </c:pt>
                <c:pt idx="12">
                  <c:v>4.392733273235649</c:v>
                </c:pt>
                <c:pt idx="13">
                  <c:v>4.7185370198439198</c:v>
                </c:pt>
                <c:pt idx="14">
                  <c:v>4.5500178405637799</c:v>
                </c:pt>
                <c:pt idx="15">
                  <c:v>3.9995218549153226</c:v>
                </c:pt>
                <c:pt idx="16">
                  <c:v>3.5389027648829394</c:v>
                </c:pt>
                <c:pt idx="17">
                  <c:v>3.0108760031385011</c:v>
                </c:pt>
                <c:pt idx="18">
                  <c:v>2.1682801067378015</c:v>
                </c:pt>
                <c:pt idx="19">
                  <c:v>1.5391418374252785</c:v>
                </c:pt>
                <c:pt idx="20">
                  <c:v>1.1234611952009332</c:v>
                </c:pt>
                <c:pt idx="21">
                  <c:v>0.84259589640069998</c:v>
                </c:pt>
                <c:pt idx="22">
                  <c:v>0.52802676174443863</c:v>
                </c:pt>
                <c:pt idx="23">
                  <c:v>0.30333452270425199</c:v>
                </c:pt>
                <c:pt idx="24">
                  <c:v>0.16851917928013999</c:v>
                </c:pt>
                <c:pt idx="25">
                  <c:v>8.9876895616074662E-2</c:v>
                </c:pt>
                <c:pt idx="26">
                  <c:v>4.4938447808037331E-2</c:v>
                </c:pt>
                <c:pt idx="27">
                  <c:v>4.4938447808037331E-2</c:v>
                </c:pt>
                <c:pt idx="28">
                  <c:v>7.8642283664065324E-2</c:v>
                </c:pt>
                <c:pt idx="29">
                  <c:v>8.9876895616074662E-2</c:v>
                </c:pt>
                <c:pt idx="30">
                  <c:v>0.11234611952009332</c:v>
                </c:pt>
                <c:pt idx="31">
                  <c:v>0.15728456732813065</c:v>
                </c:pt>
                <c:pt idx="32">
                  <c:v>0.16851917928013999</c:v>
                </c:pt>
                <c:pt idx="33">
                  <c:v>0.37074219441630801</c:v>
                </c:pt>
                <c:pt idx="34">
                  <c:v>0.70778055297658804</c:v>
                </c:pt>
                <c:pt idx="35">
                  <c:v>0.84259589640069998</c:v>
                </c:pt>
                <c:pt idx="36">
                  <c:v>1.1234611952009332</c:v>
                </c:pt>
                <c:pt idx="37">
                  <c:v>1.4492649418092038</c:v>
                </c:pt>
                <c:pt idx="38">
                  <c:v>1.3706226581451386</c:v>
                </c:pt>
                <c:pt idx="39">
                  <c:v>1.2695111505770544</c:v>
                </c:pt>
                <c:pt idx="40">
                  <c:v>1.5166726135212598</c:v>
                </c:pt>
                <c:pt idx="41">
                  <c:v>1.6964264047534094</c:v>
                </c:pt>
                <c:pt idx="42">
                  <c:v>1.7525994645134559</c:v>
                </c:pt>
                <c:pt idx="43">
                  <c:v>2.3592685099219599</c:v>
                </c:pt>
                <c:pt idx="44">
                  <c:v>3.49396431707490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6</c:f>
              <c:strCache>
                <c:ptCount val="45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</c:strCache>
            </c:strRef>
          </c:cat>
          <c:val>
            <c:numRef>
              <c:f>List1!$L$2:$L$46</c:f>
              <c:numCache>
                <c:formatCode>General</c:formatCode>
                <c:ptCount val="45"/>
                <c:pt idx="0">
                  <c:v>21.730076899920537</c:v>
                </c:pt>
                <c:pt idx="1">
                  <c:v>22.298063732886419</c:v>
                </c:pt>
                <c:pt idx="2">
                  <c:v>22.572896071418299</c:v>
                </c:pt>
                <c:pt idx="3">
                  <c:v>23.012627813069304</c:v>
                </c:pt>
                <c:pt idx="4">
                  <c:v>23.562292490133061</c:v>
                </c:pt>
                <c:pt idx="5">
                  <c:v>24.405111661630823</c:v>
                </c:pt>
                <c:pt idx="6">
                  <c:v>24.8998098709882</c:v>
                </c:pt>
                <c:pt idx="7">
                  <c:v>24.551688908847822</c:v>
                </c:pt>
                <c:pt idx="8">
                  <c:v>24.166923634903196</c:v>
                </c:pt>
                <c:pt idx="9">
                  <c:v>23.653903269643685</c:v>
                </c:pt>
                <c:pt idx="10">
                  <c:v>20.978868507933402</c:v>
                </c:pt>
                <c:pt idx="11">
                  <c:v>18.083967875397615</c:v>
                </c:pt>
                <c:pt idx="12">
                  <c:v>16.105175037968085</c:v>
                </c:pt>
                <c:pt idx="13">
                  <c:v>12.862153443291918</c:v>
                </c:pt>
                <c:pt idx="14">
                  <c:v>10.55356179962414</c:v>
                </c:pt>
                <c:pt idx="15">
                  <c:v>9.1610779510626212</c:v>
                </c:pt>
                <c:pt idx="16">
                  <c:v>7.2738958931437203</c:v>
                </c:pt>
                <c:pt idx="17">
                  <c:v>4.9836264053780663</c:v>
                </c:pt>
                <c:pt idx="18">
                  <c:v>3.6094647127186725</c:v>
                </c:pt>
                <c:pt idx="19">
                  <c:v>2.784967697123037</c:v>
                </c:pt>
                <c:pt idx="20">
                  <c:v>1.8322155902125243</c:v>
                </c:pt>
                <c:pt idx="21">
                  <c:v>1.4840946280721448</c:v>
                </c:pt>
                <c:pt idx="22">
                  <c:v>0.93442995100838733</c:v>
                </c:pt>
                <c:pt idx="23">
                  <c:v>0.54966467706375732</c:v>
                </c:pt>
                <c:pt idx="24">
                  <c:v>0.43973174165100576</c:v>
                </c:pt>
                <c:pt idx="25">
                  <c:v>0.38476527394463012</c:v>
                </c:pt>
                <c:pt idx="26">
                  <c:v>0.16489940311912718</c:v>
                </c:pt>
                <c:pt idx="27">
                  <c:v>1.8322155902125242E-2</c:v>
                </c:pt>
                <c:pt idx="28">
                  <c:v>3.6644311804250485E-2</c:v>
                </c:pt>
                <c:pt idx="29">
                  <c:v>9.1610779510626211E-2</c:v>
                </c:pt>
                <c:pt idx="30">
                  <c:v>9.1610779510626211E-2</c:v>
                </c:pt>
                <c:pt idx="31">
                  <c:v>3.6644311804250485E-2</c:v>
                </c:pt>
                <c:pt idx="32">
                  <c:v>3.6644311804250485E-2</c:v>
                </c:pt>
                <c:pt idx="33">
                  <c:v>7.3288623608500969E-2</c:v>
                </c:pt>
                <c:pt idx="34">
                  <c:v>0.10993293541275144</c:v>
                </c:pt>
                <c:pt idx="35">
                  <c:v>0.4763760534552563</c:v>
                </c:pt>
                <c:pt idx="36">
                  <c:v>0.98939641871476303</c:v>
                </c:pt>
                <c:pt idx="37">
                  <c:v>1.6306718752891467</c:v>
                </c:pt>
                <c:pt idx="38">
                  <c:v>2.4185245790805316</c:v>
                </c:pt>
                <c:pt idx="39">
                  <c:v>2.7116790735145355</c:v>
                </c:pt>
                <c:pt idx="40">
                  <c:v>3.0414778797527902</c:v>
                </c:pt>
                <c:pt idx="41">
                  <c:v>2.9498671002421641</c:v>
                </c:pt>
                <c:pt idx="42">
                  <c:v>2.9132227884379134</c:v>
                </c:pt>
                <c:pt idx="43">
                  <c:v>3.352954530088919</c:v>
                </c:pt>
                <c:pt idx="44">
                  <c:v>2.8949006325357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M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M$2:$M$46</c:f>
              <c:numCache>
                <c:formatCode>General</c:formatCode>
                <c:ptCount val="45"/>
                <c:pt idx="0">
                  <c:v>6.0655851375544145</c:v>
                </c:pt>
                <c:pt idx="1">
                  <c:v>8.1909695500865425</c:v>
                </c:pt>
                <c:pt idx="2">
                  <c:v>11.995956952641576</c:v>
                </c:pt>
                <c:pt idx="3">
                  <c:v>15.137553991841651</c:v>
                </c:pt>
                <c:pt idx="4">
                  <c:v>14.854451097925841</c:v>
                </c:pt>
                <c:pt idx="5">
                  <c:v>11.991731536314475</c:v>
                </c:pt>
                <c:pt idx="6">
                  <c:v>8.687455968520986</c:v>
                </c:pt>
                <c:pt idx="7">
                  <c:v>6.3127719926898607</c:v>
                </c:pt>
                <c:pt idx="8">
                  <c:v>4.7050010802276843</c:v>
                </c:pt>
                <c:pt idx="9">
                  <c:v>3.435263473933639</c:v>
                </c:pt>
                <c:pt idx="10">
                  <c:v>2.7169426983263589</c:v>
                </c:pt>
                <c:pt idx="11">
                  <c:v>2.288062941125542</c:v>
                </c:pt>
                <c:pt idx="12">
                  <c:v>2.1782021166208989</c:v>
                </c:pt>
                <c:pt idx="13">
                  <c:v>2.2796121084713388</c:v>
                </c:pt>
                <c:pt idx="14">
                  <c:v>2.3451060615414141</c:v>
                </c:pt>
                <c:pt idx="15">
                  <c:v>2.2627104431629319</c:v>
                </c:pt>
                <c:pt idx="16">
                  <c:v>1.9922837982284267</c:v>
                </c:pt>
                <c:pt idx="17">
                  <c:v>1.8317179777985642</c:v>
                </c:pt>
                <c:pt idx="18">
                  <c:v>1.6436869512425405</c:v>
                </c:pt>
                <c:pt idx="19">
                  <c:v>1.2655121899669433</c:v>
                </c:pt>
                <c:pt idx="20">
                  <c:v>0.93381700828946401</c:v>
                </c:pt>
                <c:pt idx="21">
                  <c:v>0.82184347562127025</c:v>
                </c:pt>
                <c:pt idx="22">
                  <c:v>0.72677160826148324</c:v>
                </c:pt>
                <c:pt idx="23">
                  <c:v>0.54085328986901082</c:v>
                </c:pt>
                <c:pt idx="24">
                  <c:v>0.4880355857802402</c:v>
                </c:pt>
                <c:pt idx="25">
                  <c:v>0.41831621638306304</c:v>
                </c:pt>
                <c:pt idx="26">
                  <c:v>0.35493497147653835</c:v>
                </c:pt>
                <c:pt idx="27">
                  <c:v>0.49648641843444352</c:v>
                </c:pt>
                <c:pt idx="28">
                  <c:v>1.0394524164670051</c:v>
                </c:pt>
                <c:pt idx="29">
                  <c:v>1.77044944105559</c:v>
                </c:pt>
                <c:pt idx="30">
                  <c:v>2.3366552288872109</c:v>
                </c:pt>
                <c:pt idx="31">
                  <c:v>2.837367063648756</c:v>
                </c:pt>
                <c:pt idx="32">
                  <c:v>2.9746930942795595</c:v>
                </c:pt>
                <c:pt idx="33">
                  <c:v>2.6451106207656312</c:v>
                </c:pt>
                <c:pt idx="34">
                  <c:v>2.2753866921442367</c:v>
                </c:pt>
                <c:pt idx="35">
                  <c:v>1.8739721410695804</c:v>
                </c:pt>
                <c:pt idx="36">
                  <c:v>1.508473628775288</c:v>
                </c:pt>
                <c:pt idx="37">
                  <c:v>1.1641021981165038</c:v>
                </c:pt>
                <c:pt idx="38">
                  <c:v>0.84508326542032941</c:v>
                </c:pt>
                <c:pt idx="39">
                  <c:v>0.65282682253720448</c:v>
                </c:pt>
                <c:pt idx="40">
                  <c:v>0.52606433272415498</c:v>
                </c:pt>
                <c:pt idx="41">
                  <c:v>0.4880355857802402</c:v>
                </c:pt>
                <c:pt idx="42">
                  <c:v>0.45211954699987622</c:v>
                </c:pt>
                <c:pt idx="43">
                  <c:v>0.38028746943914826</c:v>
                </c:pt>
                <c:pt idx="44">
                  <c:v>0.350709555149436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ser>
          <c:idx val="8"/>
          <c:order val="11"/>
          <c:tx>
            <c:strRef>
              <c:f>List1!$H$1</c:f>
              <c:strCache>
                <c:ptCount val="1"/>
                <c:pt idx="0">
                  <c:v>Velká Británi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6</c:f>
              <c:strCache>
                <c:ptCount val="45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</c:strCache>
            </c:strRef>
          </c:cat>
          <c:val>
            <c:numRef>
              <c:f>List1!$H$2:$H$46</c:f>
              <c:numCache>
                <c:formatCode>General</c:formatCode>
                <c:ptCount val="45"/>
                <c:pt idx="0">
                  <c:v>15.166060501767392</c:v>
                </c:pt>
                <c:pt idx="1">
                  <c:v>20.918349483013209</c:v>
                </c:pt>
                <c:pt idx="2">
                  <c:v>24.255117880563468</c:v>
                </c:pt>
                <c:pt idx="3">
                  <c:v>24.826673541790704</c:v>
                </c:pt>
                <c:pt idx="4">
                  <c:v>21.832250823073213</c:v>
                </c:pt>
                <c:pt idx="5">
                  <c:v>16.173996706399482</c:v>
                </c:pt>
                <c:pt idx="6">
                  <c:v>11.43405181406257</c:v>
                </c:pt>
                <c:pt idx="7">
                  <c:v>8.3500021150498061</c:v>
                </c:pt>
                <c:pt idx="8">
                  <c:v>5.7611047497994523</c:v>
                </c:pt>
                <c:pt idx="9">
                  <c:v>3.9186091220900638</c:v>
                </c:pt>
                <c:pt idx="10">
                  <c:v>2.4302135312849513</c:v>
                </c:pt>
                <c:pt idx="11">
                  <c:v>1.5809611606182634</c:v>
                </c:pt>
                <c:pt idx="12">
                  <c:v>1.0005897308373952</c:v>
                </c:pt>
                <c:pt idx="13">
                  <c:v>0.7464017375409645</c:v>
                </c:pt>
                <c:pt idx="14">
                  <c:v>0.63767392537948542</c:v>
                </c:pt>
                <c:pt idx="15">
                  <c:v>0.48192868093196134</c:v>
                </c:pt>
                <c:pt idx="16">
                  <c:v>0.39377099539562693</c:v>
                </c:pt>
                <c:pt idx="17">
                  <c:v>0.26006517233218646</c:v>
                </c:pt>
                <c:pt idx="18">
                  <c:v>0.20717056101038583</c:v>
                </c:pt>
                <c:pt idx="19">
                  <c:v>0.17043819203691316</c:v>
                </c:pt>
                <c:pt idx="20">
                  <c:v>0.14986806541176848</c:v>
                </c:pt>
                <c:pt idx="21">
                  <c:v>0.17484607631372986</c:v>
                </c:pt>
                <c:pt idx="22">
                  <c:v>0.1807232553494855</c:v>
                </c:pt>
                <c:pt idx="23">
                  <c:v>0.19982408721569125</c:v>
                </c:pt>
                <c:pt idx="24">
                  <c:v>0.28798177275202563</c:v>
                </c:pt>
                <c:pt idx="25">
                  <c:v>0.37467016352942117</c:v>
                </c:pt>
                <c:pt idx="26">
                  <c:v>0.47752079665514463</c:v>
                </c:pt>
                <c:pt idx="27">
                  <c:v>0.70085360001385844</c:v>
                </c:pt>
                <c:pt idx="28">
                  <c:v>1.0769930583022185</c:v>
                </c:pt>
                <c:pt idx="29">
                  <c:v>1.4854570012872343</c:v>
                </c:pt>
                <c:pt idx="30">
                  <c:v>1.76021512120881</c:v>
                </c:pt>
                <c:pt idx="31">
                  <c:v>1.8131097325306105</c:v>
                </c:pt>
                <c:pt idx="32">
                  <c:v>1.8865744704775558</c:v>
                </c:pt>
                <c:pt idx="33">
                  <c:v>2.1804334222653372</c:v>
                </c:pt>
                <c:pt idx="34">
                  <c:v>2.3347093719539225</c:v>
                </c:pt>
                <c:pt idx="35">
                  <c:v>2.5903666600092921</c:v>
                </c:pt>
                <c:pt idx="36">
                  <c:v>2.9003878541454013</c:v>
                </c:pt>
                <c:pt idx="37">
                  <c:v>2.8915720855917679</c:v>
                </c:pt>
                <c:pt idx="38">
                  <c:v>2.5712658281430865</c:v>
                </c:pt>
                <c:pt idx="39">
                  <c:v>2.3405865509896784</c:v>
                </c:pt>
                <c:pt idx="40">
                  <c:v>2.3964197518293564</c:v>
                </c:pt>
                <c:pt idx="41">
                  <c:v>2.6035903128397422</c:v>
                </c:pt>
                <c:pt idx="42">
                  <c:v>3.0091156663068808</c:v>
                </c:pt>
                <c:pt idx="43">
                  <c:v>3.3382376923091952</c:v>
                </c:pt>
                <c:pt idx="44">
                  <c:v>3.32942192375556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60982784"/>
        <c:axId val="400481576"/>
      </c:lineChart>
      <c:catAx>
        <c:axId val="3609827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0481576"/>
        <c:crosses val="autoZero"/>
        <c:auto val="1"/>
        <c:lblAlgn val="ctr"/>
        <c:lblOffset val="100"/>
        <c:tickLblSkip val="1"/>
        <c:noMultiLvlLbl val="1"/>
      </c:catAx>
      <c:valAx>
        <c:axId val="4004815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609827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4275707643454352"/>
          <c:y val="1.4875792985185116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1.11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20046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179634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491579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304863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327156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119791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716771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345406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662228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658201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18983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900326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100226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028626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32044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02535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80297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80426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25754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67087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03640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47507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8.png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6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2.svg"/><Relationship Id="rId4" Type="http://schemas.openxmlformats.org/officeDocument/2006/relationships/image" Target="../media/image10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2.svg"/><Relationship Id="rId4" Type="http://schemas.openxmlformats.org/officeDocument/2006/relationships/image" Target="../media/image10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2.svg"/><Relationship Id="rId4" Type="http://schemas.openxmlformats.org/officeDocument/2006/relationships/image" Target="../media/image10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2.svg"/><Relationship Id="rId4" Type="http://schemas.openxmlformats.org/officeDocument/2006/relationships/image" Target="../media/image10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8.png"/><Relationship Id="rId4" Type="http://schemas.openxmlformats.org/officeDocument/2006/relationships/image" Target="../media/image5.sv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04350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4628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262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29773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14159AF-26F1-42E1-BF83-F89C20A19403}" type="datetimeFigureOut">
              <a:rPr lang="cs-CZ" smtClean="0"/>
              <a:t>21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379503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5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9" r:id="rId3"/>
    <p:sldLayoutId id="2147483657" r:id="rId4"/>
    <p:sldLayoutId id="2147483662" r:id="rId5"/>
    <p:sldLayoutId id="2147483661" r:id="rId6"/>
    <p:sldLayoutId id="2147483660" r:id="rId7"/>
    <p:sldLayoutId id="2147483658" r:id="rId8"/>
    <p:sldLayoutId id="2147483665" r:id="rId9"/>
    <p:sldLayoutId id="2147483666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notesSlide" Target="../notesSlides/notesSlide7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25.xml"/><Relationship Id="rId4" Type="http://schemas.openxmlformats.org/officeDocument/2006/relationships/tags" Target="../tags/tag2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chart" Target="../charts/chart5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29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3" Type="http://schemas.openxmlformats.org/officeDocument/2006/relationships/tags" Target="../tags/tag32.xml"/><Relationship Id="rId7" Type="http://schemas.openxmlformats.org/officeDocument/2006/relationships/notesSlide" Target="../notesSlides/notesSlide9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34.xml"/><Relationship Id="rId4" Type="http://schemas.openxmlformats.org/officeDocument/2006/relationships/tags" Target="../tags/tag3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chart" Target="../charts/chart7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3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chart" Target="../charts/chart8.xml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4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5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5" Type="http://schemas.openxmlformats.org/officeDocument/2006/relationships/tags" Target="../tags/tag57.xml"/><Relationship Id="rId10" Type="http://schemas.openxmlformats.org/officeDocument/2006/relationships/chart" Target="../charts/chart9.xml"/><Relationship Id="rId4" Type="http://schemas.openxmlformats.org/officeDocument/2006/relationships/tags" Target="../tags/tag56.xml"/><Relationship Id="rId9" Type="http://schemas.openxmlformats.org/officeDocument/2006/relationships/notesSlide" Target="../notesSlides/notesSlide15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5" Type="http://schemas.openxmlformats.org/officeDocument/2006/relationships/tags" Target="../tags/tag64.xml"/><Relationship Id="rId10" Type="http://schemas.openxmlformats.org/officeDocument/2006/relationships/chart" Target="../charts/chart10.xml"/><Relationship Id="rId4" Type="http://schemas.openxmlformats.org/officeDocument/2006/relationships/tags" Target="../tags/tag63.xml"/><Relationship Id="rId9" Type="http://schemas.openxmlformats.org/officeDocument/2006/relationships/notesSlide" Target="../notesSlides/notesSlide1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7" Type="http://schemas.openxmlformats.org/officeDocument/2006/relationships/chart" Target="../charts/chart11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70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7" Type="http://schemas.openxmlformats.org/officeDocument/2006/relationships/chart" Target="../charts/chart12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7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5" Type="http://schemas.openxmlformats.org/officeDocument/2006/relationships/notesSlide" Target="../notesSlides/notesSlide19.xml"/><Relationship Id="rId4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7" Type="http://schemas.openxmlformats.org/officeDocument/2006/relationships/chart" Target="../charts/chart13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8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5" Type="http://schemas.openxmlformats.org/officeDocument/2006/relationships/notesSlide" Target="../notesSlides/notesSlide21.xml"/><Relationship Id="rId4" Type="http://schemas.openxmlformats.org/officeDocument/2006/relationships/slideLayout" Target="../slideLayouts/slideLayout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chart" Target="../charts/chart14.xml"/><Relationship Id="rId5" Type="http://schemas.openxmlformats.org/officeDocument/2006/relationships/notesSlide" Target="../notesSlides/notesSlide22.xml"/><Relationship Id="rId4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chart" Target="../charts/char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chart" Target="../charts/chart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10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13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15.xml"/><Relationship Id="rId4" Type="http://schemas.openxmlformats.org/officeDocument/2006/relationships/tags" Target="../tags/tag1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tags" Target="../tags/tag18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20.xml"/><Relationship Id="rId4" Type="http://schemas.openxmlformats.org/officeDocument/2006/relationships/tags" Target="../tags/tag1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800" dirty="0">
                <a:latin typeface="+mj-lt"/>
              </a:rPr>
              <a:t>Hodnocení pandemie COVID-19 </a:t>
            </a:r>
            <a:br>
              <a:rPr lang="cs-CZ" sz="4800" dirty="0">
                <a:latin typeface="+mj-lt"/>
              </a:rPr>
            </a:br>
            <a:r>
              <a:rPr lang="cs-CZ" sz="48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240535" y="3766261"/>
            <a:ext cx="9553575" cy="1964740"/>
          </a:xfrm>
        </p:spPr>
        <p:txBody>
          <a:bodyPr>
            <a:normAutofit/>
          </a:bodyPr>
          <a:lstStyle/>
          <a:p>
            <a:r>
              <a:rPr lang="cs-CZ" sz="4800" b="1" dirty="0"/>
              <a:t>Vybrané ukazatele šíření epidemie s časovými trendy </a:t>
            </a:r>
          </a:p>
        </p:txBody>
      </p:sp>
    </p:spTree>
    <p:extLst>
      <p:ext uri="{BB962C8B-B14F-4D97-AF65-F5344CB8AC3E}">
        <p14:creationId xmlns:p14="http://schemas.microsoft.com/office/powerpoint/2010/main" val="33381038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čet provedených testů v zemích EU a EHP</a:t>
            </a:r>
          </a:p>
        </p:txBody>
      </p:sp>
      <p:sp>
        <p:nvSpPr>
          <p:cNvPr id="9" name="TextovéPole 8"/>
          <p:cNvSpPr txBox="1"/>
          <p:nvPr/>
        </p:nvSpPr>
        <p:spPr>
          <a:xfrm>
            <a:off x="192024" y="1266074"/>
            <a:ext cx="3136392" cy="163121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cs-CZ" sz="2000" b="1" dirty="0">
                <a:solidFill>
                  <a:schemeClr val="accent2"/>
                </a:solidFill>
              </a:rPr>
              <a:t>ČR patří mezi země s nadprůměrným počtem testů.</a:t>
            </a:r>
          </a:p>
          <a:p>
            <a:endParaRPr lang="cs-CZ" sz="2000" b="1" dirty="0">
              <a:solidFill>
                <a:schemeClr val="accent2"/>
              </a:solidFill>
            </a:endParaRPr>
          </a:p>
          <a:p>
            <a:r>
              <a:rPr lang="cs-CZ" sz="2000" b="1" dirty="0">
                <a:solidFill>
                  <a:schemeClr val="accent2"/>
                </a:solidFill>
              </a:rPr>
              <a:t> </a:t>
            </a: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3ED4B390-9831-48B1-9B62-D785D4C198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16752" y="714896"/>
            <a:ext cx="8627762" cy="60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53326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9732582"/>
              </p:ext>
            </p:extLst>
          </p:nvPr>
        </p:nvGraphicFramePr>
        <p:xfrm>
          <a:off x="775744" y="840581"/>
          <a:ext cx="5013663" cy="528828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400" dirty="0"/>
                        <a:t>Pořadí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/>
                        <a:t>Země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/>
                        <a:t>Kumulativní počet provedených testů </a:t>
                      </a:r>
                    </a:p>
                    <a:p>
                      <a:pPr algn="ctr"/>
                      <a:r>
                        <a:rPr lang="cs-CZ" sz="1400" b="1" dirty="0"/>
                        <a:t>na 100 tisíc osob </a:t>
                      </a:r>
                    </a:p>
                    <a:p>
                      <a:pPr algn="ctr"/>
                      <a:r>
                        <a:rPr lang="cs-CZ" sz="1400" b="1" dirty="0"/>
                        <a:t>11.10. 2021—14.11. 202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akou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8 3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yp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1 89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ec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7 46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á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0 87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i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5 91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otyš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3 52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sland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 44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Česká republika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 760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e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 52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izozem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 00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tálie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 94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tva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 39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sto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 05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lg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 40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 10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čet provedených testů v zemích EU a EHP </a:t>
            </a:r>
            <a:br>
              <a:rPr lang="cs-CZ" sz="2000" dirty="0">
                <a:latin typeface="+mj-lt"/>
              </a:rPr>
            </a:br>
            <a:r>
              <a:rPr lang="cs-CZ" sz="2000" u="sng" dirty="0">
                <a:latin typeface="+mj-lt"/>
              </a:rPr>
              <a:t>od 11.10. 2021 do 14.11. 2021</a:t>
            </a: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61557689"/>
              </p:ext>
            </p:extLst>
          </p:nvPr>
        </p:nvGraphicFramePr>
        <p:xfrm>
          <a:off x="6058960" y="857516"/>
          <a:ext cx="5013663" cy="5318071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400" dirty="0"/>
                        <a:t>Pořadí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/>
                        <a:t>Země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/>
                        <a:t>Kumulativní počet provedených testů </a:t>
                      </a:r>
                    </a:p>
                    <a:p>
                      <a:pPr algn="ctr"/>
                      <a:r>
                        <a:rPr lang="cs-CZ" sz="1400" b="1" dirty="0"/>
                        <a:t>na 100 tisíc osob </a:t>
                      </a:r>
                    </a:p>
                    <a:p>
                      <a:pPr algn="ctr"/>
                      <a:r>
                        <a:rPr lang="cs-CZ" sz="1400" b="1" dirty="0"/>
                        <a:t>11.10. 2021—14.11. 202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ulh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 96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ranc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 3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horvat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 26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lt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 5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ucembu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 38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rtuga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 95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chtenštej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 90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 03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umu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 9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ď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 88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i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 59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ěmec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 3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19351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paně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 9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80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védsko*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 55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0925239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1A9A6F4A-628E-4A32-81CF-FE19A683E87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554588" y="6192583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8.11. 2021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A1C1E252-7505-49CF-963F-853CC8FAC6B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75743" y="6177432"/>
            <a:ext cx="501366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/>
              <a:t>* </a:t>
            </a:r>
            <a:r>
              <a:rPr lang="cs-CZ" sz="1100" dirty="0">
                <a:solidFill>
                  <a:srgbClr val="000000"/>
                </a:solidFill>
              </a:rPr>
              <a:t>U Švédska nejsou dostupné údaje o počtu provedených testů za 45.</a:t>
            </a:r>
            <a:r>
              <a:rPr lang="cs-CZ" sz="1100" dirty="0"/>
              <a:t> t</a:t>
            </a:r>
            <a:r>
              <a:rPr lang="cs-CZ" sz="1100" dirty="0">
                <a:solidFill>
                  <a:srgbClr val="000000"/>
                </a:solidFill>
              </a:rPr>
              <a:t>ýden </a:t>
            </a:r>
            <a:r>
              <a:rPr lang="cs-CZ" sz="1100" dirty="0"/>
              <a:t>roku 2021.</a:t>
            </a:r>
          </a:p>
        </p:txBody>
      </p:sp>
    </p:spTree>
    <p:extLst>
      <p:ext uri="{BB962C8B-B14F-4D97-AF65-F5344CB8AC3E}">
        <p14:creationId xmlns:p14="http://schemas.microsoft.com/office/powerpoint/2010/main" val="34914960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18.11. 2021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672844" y="3464759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 počet provedených testů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 100 tisíc osob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7472289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828333" y="1244600"/>
            <a:ext cx="3156144" cy="477519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f zobrazuje celkový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 počet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vedených testů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řepočítaný na 100 tisíc osob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začátku epidemi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14.11. 2021.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lvl="0" algn="ctr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rPr>
              <a:t>Pozn.: Údaje o počtu provedených testů nejsou dostupné u </a:t>
            </a:r>
            <a:r>
              <a:rPr lang="cs-CZ" sz="1100" dirty="0">
                <a:solidFill>
                  <a:srgbClr val="000000"/>
                </a:solidFill>
                <a:latin typeface="+mj-lt"/>
              </a:rPr>
              <a:t>Švédska za 29.,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rPr>
              <a:t>u Kypru za 42.</a:t>
            </a:r>
            <a:r>
              <a:rPr lang="cs-CZ" sz="1100" dirty="0">
                <a:solidFill>
                  <a:srgbClr val="000000"/>
                </a:solidFill>
                <a:latin typeface="+mj-lt"/>
              </a:rPr>
              <a:t>, u Estonska za 43. a u Litvy za 34. a 41. týden roku 2020 a u Švédska za 45. týden roku 2021.</a:t>
            </a:r>
            <a:r>
              <a:rPr lang="cs-CZ" sz="1100" dirty="0">
                <a:solidFill>
                  <a:srgbClr val="000000"/>
                </a:solidFill>
              </a:rPr>
              <a:t> Dále chybí </a:t>
            </a:r>
            <a:r>
              <a:rPr lang="cs-CZ" sz="1100" dirty="0">
                <a:solidFill>
                  <a:srgbClr val="000000"/>
                </a:solidFill>
                <a:latin typeface="+mj-lt"/>
              </a:rPr>
              <a:t>údaje u Švédska za 31.—39. týden roku 2020, u Slovenska za 23., 27., 35., 37., 40. a 41. týden a u Francie za 44. a 45. týden roku 2020, proto byly u těchto zemí pro tyto týdny použity údaje z přechozí verze dat ECDC.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rPr>
              <a:t>V případě Bulharska j</a:t>
            </a:r>
            <a:r>
              <a:rPr lang="cs-CZ" sz="1100" dirty="0">
                <a:solidFill>
                  <a:srgbClr val="000000"/>
                </a:solidFill>
                <a:latin typeface="+mj-lt"/>
              </a:rPr>
              <a:t>e</a:t>
            </a:r>
            <a:r>
              <a:rPr kumimoji="0" lang="cs-CZ" sz="11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rPr>
              <a:t> v 1. týdnu roku 2020 uveden nepravděpodobně vysoký počet testů, proto testy v tomto týdnu nejsou do analýzy zahrnuty. </a:t>
            </a:r>
            <a:r>
              <a:rPr lang="cs-CZ" sz="1100" dirty="0">
                <a:solidFill>
                  <a:srgbClr val="000000"/>
                </a:solidFill>
              </a:rPr>
              <a:t>U Lichtenštejnsku jsou údaje dostupné až od 29. týdne roku 2021</a:t>
            </a:r>
            <a:r>
              <a:rPr lang="cs-CZ" sz="1150" dirty="0">
                <a:solidFill>
                  <a:srgbClr val="000000"/>
                </a:solidFill>
              </a:rPr>
              <a:t>. </a:t>
            </a:r>
            <a:endParaRPr kumimoji="0" lang="cs-CZ" sz="11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čet provedených testů v zemích EU a EHP </a:t>
            </a:r>
            <a:br>
              <a:rPr lang="cs-CZ" sz="2000" dirty="0">
                <a:latin typeface="+mj-lt"/>
              </a:rPr>
            </a:br>
            <a:r>
              <a:rPr lang="cs-CZ" sz="2000" u="sng" dirty="0">
                <a:latin typeface="+mj-lt"/>
              </a:rPr>
              <a:t>od začátku epidemie</a:t>
            </a:r>
          </a:p>
        </p:txBody>
      </p:sp>
      <p:sp>
        <p:nvSpPr>
          <p:cNvPr id="11" name="Obdélník 10"/>
          <p:cNvSpPr/>
          <p:nvPr>
            <p:custDataLst>
              <p:tags r:id="rId4"/>
            </p:custDataLst>
          </p:nvPr>
        </p:nvSpPr>
        <p:spPr>
          <a:xfrm rot="16200000">
            <a:off x="2661427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367058A-8992-403D-964A-22E4F40FED24}"/>
              </a:ext>
            </a:extLst>
          </p:cNvPr>
          <p:cNvSpPr txBox="1"/>
          <p:nvPr/>
        </p:nvSpPr>
        <p:spPr>
          <a:xfrm>
            <a:off x="381738" y="715019"/>
            <a:ext cx="115146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provedené testy (PCR i antigenové) hlášené členskou zemí do ECDC</a:t>
            </a:r>
          </a:p>
        </p:txBody>
      </p:sp>
    </p:spTree>
    <p:extLst>
      <p:ext uri="{BB962C8B-B14F-4D97-AF65-F5344CB8AC3E}">
        <p14:creationId xmlns:p14="http://schemas.microsoft.com/office/powerpoint/2010/main" val="23929082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18.11. 2021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652063" y="3464759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tvrzených případů z kumulativního počtu provedených testů (14denní) 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6612387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853272" y="1310313"/>
            <a:ext cx="3156144" cy="437082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f zobrazuje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tvrzených případů z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ho počt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vedených testů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1.11. 202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14.11. 2021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1600" dirty="0">
              <a:solidFill>
                <a:srgbClr val="000000"/>
              </a:solidFill>
              <a:latin typeface="Arial" panose="020B0604020202020204"/>
            </a:endParaRPr>
          </a:p>
          <a:p>
            <a:pPr lvl="0" algn="ctr">
              <a:defRPr/>
            </a:pPr>
            <a:r>
              <a:rPr lang="cs-CZ" sz="1100" dirty="0">
                <a:solidFill>
                  <a:srgbClr val="000000"/>
                </a:solidFill>
              </a:rPr>
              <a:t>Pozn.: U Švédska nejsou dostupné údaje o počtu provedených testů za 45. týden roku 2021, a proto nebyla tato země do analýzy zahrnuta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Autofit/>
          </a:bodyPr>
          <a:lstStyle/>
          <a:p>
            <a:r>
              <a:rPr lang="cs-CZ" sz="2000" u="sng" dirty="0">
                <a:latin typeface="+mj-lt"/>
              </a:rPr>
              <a:t>14denní</a:t>
            </a:r>
            <a:r>
              <a:rPr lang="cs-CZ" sz="2000" dirty="0">
                <a:latin typeface="+mj-lt"/>
              </a:rPr>
              <a:t> podíl potvrzených případů z počtu provedených testů v zemích EU a EHP</a:t>
            </a:r>
          </a:p>
        </p:txBody>
      </p:sp>
      <p:sp>
        <p:nvSpPr>
          <p:cNvPr id="11" name="Obdélník 10"/>
          <p:cNvSpPr/>
          <p:nvPr>
            <p:custDataLst>
              <p:tags r:id="rId4"/>
            </p:custDataLst>
          </p:nvPr>
        </p:nvSpPr>
        <p:spPr>
          <a:xfrm rot="16200000">
            <a:off x="3999084" y="5904636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1ED9F66F-9613-4871-BB84-97F861A900D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81738" y="715019"/>
            <a:ext cx="115146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provedené testy (PCR i antigenové) hlášené členskou zemí do ECDC</a:t>
            </a:r>
          </a:p>
        </p:txBody>
      </p:sp>
    </p:spTree>
    <p:extLst>
      <p:ext uri="{BB962C8B-B14F-4D97-AF65-F5344CB8AC3E}">
        <p14:creationId xmlns:p14="http://schemas.microsoft.com/office/powerpoint/2010/main" val="43672645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18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1. 2021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652063" y="3464759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tvrzených případů z kumulativního počtu provedených testů (7denní) 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2984517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828333" y="1472183"/>
            <a:ext cx="3156144" cy="43704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f zobrazuje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tvrzených případů z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ho počt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vedených testů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lvl="0" algn="ctr"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cs-CZ" sz="16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4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týdnu (1</a:t>
            </a:r>
            <a:r>
              <a:rPr lang="cs-CZ" sz="1600" dirty="0">
                <a:solidFill>
                  <a:srgbClr val="000000"/>
                </a:solidFill>
              </a:rPr>
              <a:t>.11.—7.11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) </a:t>
            </a:r>
          </a:p>
          <a:p>
            <a:pPr lvl="0" algn="ctr"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 </a:t>
            </a:r>
            <a:r>
              <a:rPr kumimoji="0" lang="cs-CZ" sz="16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r>
              <a:rPr lang="cs-CZ" sz="1600" dirty="0">
                <a:solidFill>
                  <a:srgbClr val="000000"/>
                </a:solidFill>
              </a:rPr>
              <a:t>týdnu (8.11.—14.11.)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oku 2021.</a:t>
            </a:r>
          </a:p>
          <a:p>
            <a:pPr lvl="0" algn="ctr">
              <a:defRPr/>
            </a:pPr>
            <a:endParaRPr lang="cs-CZ" sz="1600" dirty="0">
              <a:solidFill>
                <a:srgbClr val="000000"/>
              </a:solidFill>
              <a:latin typeface="Arial" panose="020B0604020202020204"/>
            </a:endParaRPr>
          </a:p>
          <a:p>
            <a:pPr algn="ctr">
              <a:defRPr/>
            </a:pPr>
            <a:r>
              <a:rPr lang="cs-CZ" sz="1100" dirty="0">
                <a:solidFill>
                  <a:srgbClr val="000000"/>
                </a:solidFill>
              </a:rPr>
              <a:t>Pozn.: U Švédska nejsou dostupné údaje o počtu provedených testů za 45. týden roku 2021, a proto nebyla tato země do analýzy zahrnuta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Autofit/>
          </a:bodyPr>
          <a:lstStyle/>
          <a:p>
            <a:r>
              <a:rPr lang="cs-CZ" sz="2000" u="sng" dirty="0">
                <a:latin typeface="+mj-lt"/>
              </a:rPr>
              <a:t>7denní</a:t>
            </a:r>
            <a:r>
              <a:rPr lang="cs-CZ" sz="2000" dirty="0">
                <a:latin typeface="+mj-lt"/>
              </a:rPr>
              <a:t> podíl potvrzených případů z počtu provedených testů v zemích EU a EHP</a:t>
            </a:r>
          </a:p>
        </p:txBody>
      </p:sp>
      <p:sp>
        <p:nvSpPr>
          <p:cNvPr id="11" name="Obdélník 10"/>
          <p:cNvSpPr/>
          <p:nvPr>
            <p:custDataLst>
              <p:tags r:id="rId4"/>
            </p:custDataLst>
          </p:nvPr>
        </p:nvSpPr>
        <p:spPr>
          <a:xfrm rot="16200000">
            <a:off x="3533979" y="5895862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51D1E692-519E-4DAB-B393-73DA8A84FB26}"/>
              </a:ext>
            </a:extLst>
          </p:cNvPr>
          <p:cNvSpPr txBox="1"/>
          <p:nvPr/>
        </p:nvSpPr>
        <p:spPr>
          <a:xfrm>
            <a:off x="381738" y="715019"/>
            <a:ext cx="115146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provedené testy (PCR i antigenové) hlášené členskou zemí do ECDC</a:t>
            </a:r>
          </a:p>
        </p:txBody>
      </p:sp>
    </p:spTree>
    <p:extLst>
      <p:ext uri="{BB962C8B-B14F-4D97-AF65-F5344CB8AC3E}">
        <p14:creationId xmlns:p14="http://schemas.microsoft.com/office/powerpoint/2010/main" val="39569092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18.11. 2021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7915708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35443"/>
            <a:ext cx="44719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tvrzených případů z počtu provedených testů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daném týdnu 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/>
        </p:nvSpPr>
        <p:spPr>
          <a:xfrm>
            <a:off x="8397384" y="4572030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CD61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/>
        </p:nvSpPr>
        <p:spPr>
          <a:xfrm>
            <a:off x="8391649" y="3959978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305983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U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/>
        </p:nvSpPr>
        <p:spPr>
          <a:xfrm>
            <a:off x="8398000" y="4144507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99663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/>
        </p:nvSpPr>
        <p:spPr>
          <a:xfrm>
            <a:off x="8390275" y="4749872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Z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podílu potvrzených případů z počtu provedených testů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828333" y="1972734"/>
            <a:ext cx="3156144" cy="364066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f zobrazuje vývoj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tvrzených případů z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ho počt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vedených testů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období od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4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. 202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14.11. 2021).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AC542E05-0690-4206-8063-94C7127469F5}"/>
              </a:ext>
            </a:extLst>
          </p:cNvPr>
          <p:cNvSpPr txBox="1"/>
          <p:nvPr/>
        </p:nvSpPr>
        <p:spPr>
          <a:xfrm>
            <a:off x="381738" y="715019"/>
            <a:ext cx="115146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provedené testy (PCR i antigenové) hlášené členskou zemí do ECDC</a:t>
            </a:r>
          </a:p>
        </p:txBody>
      </p:sp>
    </p:spTree>
    <p:extLst>
      <p:ext uri="{BB962C8B-B14F-4D97-AF65-F5344CB8AC3E}">
        <p14:creationId xmlns:p14="http://schemas.microsoft.com/office/powerpoint/2010/main" val="17800771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400" dirty="0">
                <a:latin typeface="+mj-lt"/>
              </a:rPr>
              <a:t>Hodnocení pandemie COVID-19 </a:t>
            </a:r>
            <a:br>
              <a:rPr lang="cs-CZ" sz="4400" dirty="0">
                <a:latin typeface="+mj-lt"/>
              </a:rPr>
            </a:br>
            <a:r>
              <a:rPr lang="cs-CZ" sz="44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19212" y="3693109"/>
            <a:ext cx="9553575" cy="1253795"/>
          </a:xfrm>
        </p:spPr>
        <p:txBody>
          <a:bodyPr>
            <a:normAutofit/>
          </a:bodyPr>
          <a:lstStyle/>
          <a:p>
            <a:r>
              <a:rPr lang="cs-CZ" sz="4800" b="1" dirty="0"/>
              <a:t>Mortalita 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658368" y="4946904"/>
            <a:ext cx="10387584" cy="707886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000" b="1" dirty="0">
                <a:solidFill>
                  <a:schemeClr val="bg1"/>
                </a:solidFill>
              </a:rPr>
              <a:t>Data o počtech úmrtí hlášená v reálném čase mají velmi omezenou hodnotu. Státy je budou muset doplnit, validovat, určit příčinu úmrtí …… </a:t>
            </a:r>
          </a:p>
        </p:txBody>
      </p:sp>
    </p:spTree>
    <p:extLst>
      <p:ext uri="{BB962C8B-B14F-4D97-AF65-F5344CB8AC3E}">
        <p14:creationId xmlns:p14="http://schemas.microsoft.com/office/powerpoint/2010/main" val="104556915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692640" y="6316981"/>
            <a:ext cx="22915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Zdroj: ECDC, 18.11. 2021</a:t>
            </a:r>
          </a:p>
        </p:txBody>
      </p:sp>
      <p:sp>
        <p:nvSpPr>
          <p:cNvPr id="16" name="TextovéPole 15"/>
          <p:cNvSpPr txBox="1"/>
          <p:nvPr/>
        </p:nvSpPr>
        <p:spPr>
          <a:xfrm>
            <a:off x="6448425" y="2033700"/>
            <a:ext cx="2600325" cy="923330"/>
          </a:xfrm>
          <a:prstGeom prst="rect">
            <a:avLst/>
          </a:prstGeom>
          <a:solidFill>
            <a:srgbClr val="00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dirty="0"/>
              <a:t>Toto není </a:t>
            </a:r>
            <a:r>
              <a:rPr lang="cs-CZ" dirty="0" err="1"/>
              <a:t>correct</a:t>
            </a:r>
            <a:r>
              <a:rPr lang="cs-CZ" dirty="0"/>
              <a:t> – dejte sem tu </a:t>
            </a:r>
            <a:r>
              <a:rPr lang="cs-CZ" dirty="0" err="1"/>
              <a:t>souhnnou</a:t>
            </a:r>
            <a:r>
              <a:rPr lang="cs-CZ" dirty="0"/>
              <a:t> tabulku úmrtí za 2020</a:t>
            </a:r>
          </a:p>
        </p:txBody>
      </p:sp>
      <p:graphicFrame>
        <p:nvGraphicFramePr>
          <p:cNvPr id="17" name="Tabulka 16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2662573"/>
              </p:ext>
            </p:extLst>
          </p:nvPr>
        </p:nvGraphicFramePr>
        <p:xfrm>
          <a:off x="584948" y="766578"/>
          <a:ext cx="5400000" cy="555040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61587">
                <a:tc>
                  <a:txBody>
                    <a:bodyPr/>
                    <a:lstStyle/>
                    <a:p>
                      <a:pPr algn="l"/>
                      <a:r>
                        <a:rPr lang="cs-CZ" sz="1200" b="1" dirty="0"/>
                        <a:t>Země</a:t>
                      </a:r>
                      <a:endParaRPr lang="cs-CZ" sz="1200" b="1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/>
                        <a:t>Kumulativní</a:t>
                      </a:r>
                      <a:r>
                        <a:rPr lang="cs-CZ" sz="1200" b="1" baseline="0" dirty="0"/>
                        <a:t> p</a:t>
                      </a:r>
                      <a:r>
                        <a:rPr lang="cs-CZ" sz="1200" b="1" dirty="0"/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baseline="0" dirty="0"/>
                        <a:t> na </a:t>
                      </a:r>
                      <a:r>
                        <a:rPr lang="cs-CZ" sz="1200" b="1" u="sng" baseline="0" dirty="0"/>
                        <a:t>100 tisíc osob</a:t>
                      </a:r>
                      <a:endParaRPr lang="cs-CZ" sz="1200" b="1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sng" dirty="0"/>
                        <a:t>7denní </a:t>
                      </a:r>
                      <a:r>
                        <a:rPr lang="cs-CZ" sz="1200" b="1" dirty="0"/>
                        <a:t>kumulativní</a:t>
                      </a:r>
                      <a:r>
                        <a:rPr lang="cs-CZ" sz="1200" b="1" baseline="0" dirty="0"/>
                        <a:t> p</a:t>
                      </a:r>
                      <a:r>
                        <a:rPr lang="cs-CZ" sz="1200" b="1" dirty="0"/>
                        <a:t>očet úmrtí</a:t>
                      </a:r>
                      <a:r>
                        <a:rPr lang="cs-CZ" sz="1200" b="1" baseline="0" dirty="0"/>
                        <a:t> na </a:t>
                      </a:r>
                      <a:r>
                        <a:rPr lang="cs-CZ" sz="1200" b="1" u="sng" baseline="0" dirty="0"/>
                        <a:t>100 tisíc osob</a:t>
                      </a:r>
                      <a:endParaRPr lang="cs-CZ" sz="1200" b="1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sng" dirty="0"/>
                        <a:t>14denní </a:t>
                      </a:r>
                      <a:r>
                        <a:rPr lang="cs-CZ" sz="1200" b="1" dirty="0"/>
                        <a:t>kumulativní</a:t>
                      </a:r>
                      <a:r>
                        <a:rPr lang="cs-CZ" sz="1200" b="1" baseline="0" dirty="0"/>
                        <a:t> p</a:t>
                      </a:r>
                      <a:r>
                        <a:rPr lang="cs-CZ" sz="1200" b="1" dirty="0"/>
                        <a:t>očet úmrtí</a:t>
                      </a:r>
                      <a:r>
                        <a:rPr lang="cs-CZ" sz="1200" b="1" baseline="0" dirty="0"/>
                        <a:t> na </a:t>
                      </a:r>
                      <a:r>
                        <a:rPr lang="cs-CZ" sz="1200" b="1" u="sng" baseline="0" dirty="0"/>
                        <a:t>100 tisíc osob</a:t>
                      </a:r>
                      <a:endParaRPr lang="cs-CZ" sz="1200" b="1" u="sng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ulhar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6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ďar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8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eská republika</a:t>
                      </a:r>
                    </a:p>
                  </a:txBody>
                  <a:tcPr anchor="b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4,7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0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8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umu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5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e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6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i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1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orvat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4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lgi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6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táli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3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tv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3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tyš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6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elká Británi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0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l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8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paněl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5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ranci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1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rtugal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7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graphicFrame>
        <p:nvGraphicFramePr>
          <p:cNvPr id="18" name="Tabulka 17"/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27372865"/>
              </p:ext>
            </p:extLst>
          </p:nvPr>
        </p:nvGraphicFramePr>
        <p:xfrm>
          <a:off x="6250375" y="757705"/>
          <a:ext cx="5400000" cy="532906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72002">
                <a:tc>
                  <a:txBody>
                    <a:bodyPr/>
                    <a:lstStyle/>
                    <a:p>
                      <a:r>
                        <a:rPr lang="cs-CZ" sz="1200" dirty="0"/>
                        <a:t>Země</a:t>
                      </a:r>
                      <a:endParaRPr lang="cs-CZ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dirty="0"/>
                        <a:t>Kumulativní</a:t>
                      </a:r>
                      <a:r>
                        <a:rPr lang="cs-CZ" sz="1200" baseline="0" dirty="0"/>
                        <a:t> p</a:t>
                      </a:r>
                      <a:r>
                        <a:rPr lang="cs-CZ" sz="1200" dirty="0"/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aseline="0" dirty="0"/>
                        <a:t> na </a:t>
                      </a:r>
                      <a:r>
                        <a:rPr lang="cs-CZ" sz="1200" u="sng" baseline="0" dirty="0"/>
                        <a:t>100 tisíc osob</a:t>
                      </a:r>
                      <a:endParaRPr lang="cs-CZ" sz="120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dirty="0"/>
                        <a:t>7denní </a:t>
                      </a: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</a:t>
                      </a: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dirty="0"/>
                        <a:t>14denní </a:t>
                      </a: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</a:t>
                      </a: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chtenštej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7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848665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Řec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6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véd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6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ucembur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4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akou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7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sto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7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ěmec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7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izozem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7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r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6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lt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ypr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á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i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r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7425165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sland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89916256"/>
                  </a:ext>
                </a:extLst>
              </a:tr>
            </a:tbl>
          </a:graphicData>
        </a:graphic>
      </p:graphicFrame>
      <p:sp>
        <p:nvSpPr>
          <p:cNvPr id="9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/>
              <a:t>Úmrtí – srovnání zemí řazeno dle kumulativního počtu na 100tis. 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521151" y="6266552"/>
            <a:ext cx="66610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/>
              <a:t>Data jsou průběžným srovnáním hodnot jednotlivých států s omezenou interpretační hodnotou. Mortalita není ve všech státech průběžně vykazována stejně a je také rozdílně aktualizována v čase.</a:t>
            </a:r>
          </a:p>
        </p:txBody>
      </p:sp>
    </p:spTree>
    <p:extLst>
      <p:ext uri="{BB962C8B-B14F-4D97-AF65-F5344CB8AC3E}">
        <p14:creationId xmlns:p14="http://schemas.microsoft.com/office/powerpoint/2010/main" val="173265243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ovéPole 15"/>
          <p:cNvSpPr txBox="1"/>
          <p:nvPr/>
        </p:nvSpPr>
        <p:spPr>
          <a:xfrm>
            <a:off x="6448425" y="2033700"/>
            <a:ext cx="2600325" cy="923330"/>
          </a:xfrm>
          <a:prstGeom prst="rect">
            <a:avLst/>
          </a:prstGeom>
          <a:solidFill>
            <a:srgbClr val="00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dirty="0"/>
              <a:t>Toto není </a:t>
            </a:r>
            <a:r>
              <a:rPr lang="cs-CZ" dirty="0" err="1"/>
              <a:t>correct</a:t>
            </a:r>
            <a:r>
              <a:rPr lang="cs-CZ" dirty="0"/>
              <a:t> – dejte sem tu </a:t>
            </a:r>
            <a:r>
              <a:rPr lang="cs-CZ" dirty="0" err="1"/>
              <a:t>souhnnou</a:t>
            </a:r>
            <a:r>
              <a:rPr lang="cs-CZ" dirty="0"/>
              <a:t> tabulku úmrtí za 2020</a:t>
            </a:r>
          </a:p>
        </p:txBody>
      </p:sp>
      <p:graphicFrame>
        <p:nvGraphicFramePr>
          <p:cNvPr id="17" name="Tabulka 16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386329"/>
              </p:ext>
            </p:extLst>
          </p:nvPr>
        </p:nvGraphicFramePr>
        <p:xfrm>
          <a:off x="584948" y="766578"/>
          <a:ext cx="5400000" cy="555040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61587">
                <a:tc>
                  <a:txBody>
                    <a:bodyPr/>
                    <a:lstStyle/>
                    <a:p>
                      <a:pPr algn="l"/>
                      <a:r>
                        <a:rPr lang="cs-CZ" sz="1200" dirty="0">
                          <a:latin typeface="+mj-lt"/>
                        </a:rPr>
                        <a:t>Země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sng" dirty="0">
                          <a:latin typeface="+mj-lt"/>
                        </a:rPr>
                        <a:t>7denní </a:t>
                      </a:r>
                      <a:r>
                        <a:rPr lang="cs-CZ" sz="1200" dirty="0">
                          <a:latin typeface="+mj-lt"/>
                        </a:rPr>
                        <a:t>kumulativní</a:t>
                      </a:r>
                      <a:r>
                        <a:rPr lang="cs-CZ" sz="1200" baseline="0" dirty="0">
                          <a:latin typeface="+mj-lt"/>
                        </a:rPr>
                        <a:t> p</a:t>
                      </a:r>
                      <a:r>
                        <a:rPr lang="cs-CZ" sz="1200" dirty="0">
                          <a:latin typeface="+mj-lt"/>
                        </a:rPr>
                        <a:t>očet úmrtí</a:t>
                      </a:r>
                      <a:r>
                        <a:rPr lang="cs-CZ" sz="1200" baseline="0" dirty="0">
                          <a:latin typeface="+mj-lt"/>
                        </a:rPr>
                        <a:t> na </a:t>
                      </a:r>
                      <a:r>
                        <a:rPr lang="cs-CZ" sz="1200" u="sng" baseline="0" dirty="0">
                          <a:latin typeface="+mj-lt"/>
                        </a:rPr>
                        <a:t>100 tisíc osob</a:t>
                      </a:r>
                      <a:endParaRPr lang="cs-CZ" sz="1200" u="sng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Kumulativn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p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na </a:t>
                      </a:r>
                      <a:r>
                        <a:rPr lang="cs-CZ" sz="1200" b="0" u="sng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00 tisíc osob</a:t>
                      </a:r>
                      <a:endParaRPr lang="cs-CZ" sz="1200" b="0" u="sng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4denní 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kumulativn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p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očet úmrt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na </a:t>
                      </a:r>
                      <a:r>
                        <a:rPr lang="cs-CZ" sz="1200" b="0" u="sng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00 tisíc osob</a:t>
                      </a:r>
                      <a:endParaRPr lang="cs-CZ" sz="1200" b="0" u="sng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ulhar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6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tyš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6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umu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5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orvat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4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ďar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8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sto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7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Řec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6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eská republika</a:t>
                      </a:r>
                    </a:p>
                  </a:txBody>
                  <a:tcPr anchor="b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0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4,7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8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l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8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akou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7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tva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3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elká Británie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0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lgie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6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i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1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e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6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ěmec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7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graphicFrame>
        <p:nvGraphicFramePr>
          <p:cNvPr id="18" name="Tabulka 17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3435924"/>
              </p:ext>
            </p:extLst>
          </p:nvPr>
        </p:nvGraphicFramePr>
        <p:xfrm>
          <a:off x="6250375" y="757703"/>
          <a:ext cx="5400000" cy="532906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72008">
                <a:tc>
                  <a:txBody>
                    <a:bodyPr/>
                    <a:lstStyle/>
                    <a:p>
                      <a:r>
                        <a:rPr lang="cs-CZ" sz="1200" dirty="0">
                          <a:latin typeface="+mj-lt"/>
                        </a:rPr>
                        <a:t>Země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sng" dirty="0">
                          <a:latin typeface="+mj-lt"/>
                        </a:rPr>
                        <a:t>7denní </a:t>
                      </a:r>
                      <a:r>
                        <a:rPr lang="cs-CZ" sz="1200" dirty="0">
                          <a:latin typeface="+mj-lt"/>
                        </a:rPr>
                        <a:t>kumulativní</a:t>
                      </a:r>
                      <a:r>
                        <a:rPr lang="cs-CZ" sz="1200" baseline="0" dirty="0">
                          <a:latin typeface="+mj-lt"/>
                        </a:rPr>
                        <a:t> p</a:t>
                      </a:r>
                      <a:r>
                        <a:rPr lang="cs-CZ" sz="1200" dirty="0">
                          <a:latin typeface="+mj-lt"/>
                        </a:rPr>
                        <a:t>očet úmrtí</a:t>
                      </a:r>
                      <a:r>
                        <a:rPr lang="cs-CZ" sz="1200" baseline="0" dirty="0">
                          <a:latin typeface="+mj-lt"/>
                        </a:rPr>
                        <a:t> na </a:t>
                      </a:r>
                      <a:r>
                        <a:rPr lang="cs-CZ" sz="1200" u="sng" baseline="0" dirty="0">
                          <a:latin typeface="+mj-lt"/>
                        </a:rPr>
                        <a:t>100 tisíc osob</a:t>
                      </a:r>
                      <a:endParaRPr lang="cs-CZ" sz="1200" u="sng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Kumulativn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p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na </a:t>
                      </a:r>
                      <a:r>
                        <a:rPr lang="cs-CZ" sz="1200" b="0" u="sng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00 tisíc osob</a:t>
                      </a:r>
                      <a:endParaRPr lang="cs-CZ" sz="1200" b="0" u="sng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4denní 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kumulativn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p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očet úmrt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na </a:t>
                      </a:r>
                      <a:r>
                        <a:rPr lang="cs-CZ" sz="1200" b="0" u="sng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00 tisíc osob</a:t>
                      </a:r>
                      <a:endParaRPr lang="cs-CZ" sz="1200" b="0" u="sng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izozem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7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ucembur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4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rtugal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7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á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tálie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3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r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6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rancie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1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r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924309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ypr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paněl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5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i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véd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6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chtenštej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7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lta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633057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sland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83131000"/>
                  </a:ext>
                </a:extLst>
              </a:tr>
            </a:tbl>
          </a:graphicData>
        </a:graphic>
      </p:graphicFrame>
      <p:sp>
        <p:nvSpPr>
          <p:cNvPr id="9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/>
              <a:t>Úmrtí – srovnání zemí řazeno dle 7denních počtů na 100tis.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B473440A-A00D-4FD9-9C64-073BC91449F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21151" y="6266552"/>
            <a:ext cx="66610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/>
              <a:t>Data jsou průběžným srovnáním hodnot jednotlivých států s omezenou interpretační hodnotou. Mortalita není ve všech státech průběžně vykazována stejně a je také rozdílně aktualizována v čase.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D35B1809-FF4A-4FA6-84D2-6B53B965FED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734204" y="6316981"/>
            <a:ext cx="22499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Zdroj: ECDC, 18.11. 2021</a:t>
            </a:r>
          </a:p>
        </p:txBody>
      </p:sp>
    </p:spTree>
    <p:extLst>
      <p:ext uri="{BB962C8B-B14F-4D97-AF65-F5344CB8AC3E}">
        <p14:creationId xmlns:p14="http://schemas.microsoft.com/office/powerpoint/2010/main" val="34133329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ovéPole 15"/>
          <p:cNvSpPr txBox="1"/>
          <p:nvPr/>
        </p:nvSpPr>
        <p:spPr>
          <a:xfrm>
            <a:off x="6448425" y="2033700"/>
            <a:ext cx="2600325" cy="923330"/>
          </a:xfrm>
          <a:prstGeom prst="rect">
            <a:avLst/>
          </a:prstGeom>
          <a:solidFill>
            <a:srgbClr val="00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dirty="0"/>
              <a:t>Toto není </a:t>
            </a:r>
            <a:r>
              <a:rPr lang="cs-CZ" dirty="0" err="1"/>
              <a:t>correct</a:t>
            </a:r>
            <a:r>
              <a:rPr lang="cs-CZ" dirty="0"/>
              <a:t> – dejte sem tu </a:t>
            </a:r>
            <a:r>
              <a:rPr lang="cs-CZ" dirty="0" err="1"/>
              <a:t>souhnnou</a:t>
            </a:r>
            <a:r>
              <a:rPr lang="cs-CZ" dirty="0"/>
              <a:t> tabulku úmrtí za 2020</a:t>
            </a:r>
          </a:p>
        </p:txBody>
      </p:sp>
      <p:graphicFrame>
        <p:nvGraphicFramePr>
          <p:cNvPr id="17" name="Tabulka 16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036294"/>
              </p:ext>
            </p:extLst>
          </p:nvPr>
        </p:nvGraphicFramePr>
        <p:xfrm>
          <a:off x="584948" y="766578"/>
          <a:ext cx="5400000" cy="555040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61587">
                <a:tc>
                  <a:txBody>
                    <a:bodyPr/>
                    <a:lstStyle/>
                    <a:p>
                      <a:pPr algn="l"/>
                      <a:r>
                        <a:rPr lang="cs-CZ" sz="1200" dirty="0"/>
                        <a:t>Země</a:t>
                      </a:r>
                      <a:endParaRPr lang="cs-CZ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sng" dirty="0"/>
                        <a:t>14denní </a:t>
                      </a:r>
                      <a:r>
                        <a:rPr lang="cs-CZ" sz="1200" dirty="0"/>
                        <a:t>kumulativní</a:t>
                      </a:r>
                      <a:r>
                        <a:rPr lang="cs-CZ" sz="1200" baseline="0" dirty="0"/>
                        <a:t> p</a:t>
                      </a:r>
                      <a:r>
                        <a:rPr lang="cs-CZ" sz="1200" dirty="0"/>
                        <a:t>očet úmrtí</a:t>
                      </a:r>
                      <a:r>
                        <a:rPr lang="cs-CZ" sz="1200" baseline="0" dirty="0"/>
                        <a:t> na </a:t>
                      </a:r>
                      <a:r>
                        <a:rPr lang="cs-CZ" sz="1200" u="sng" baseline="0" dirty="0"/>
                        <a:t>100 tisíc osob</a:t>
                      </a:r>
                      <a:endParaRPr lang="cs-CZ" sz="120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dirty="0"/>
                        <a:t>7denní </a:t>
                      </a: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</a:t>
                      </a: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ulhar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6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umu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5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tyš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6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orvat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4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ďar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8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sto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7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Řec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6,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tva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3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eská republika</a:t>
                      </a:r>
                    </a:p>
                  </a:txBody>
                  <a:tcPr anchor="b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8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0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4,7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i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1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l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8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akou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7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elká Británie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0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lgie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6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e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6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ěmec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7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graphicFrame>
        <p:nvGraphicFramePr>
          <p:cNvPr id="18" name="Tabulka 17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8566438"/>
              </p:ext>
            </p:extLst>
          </p:nvPr>
        </p:nvGraphicFramePr>
        <p:xfrm>
          <a:off x="6250375" y="757703"/>
          <a:ext cx="5400000" cy="532906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72003">
                <a:tc>
                  <a:txBody>
                    <a:bodyPr/>
                    <a:lstStyle/>
                    <a:p>
                      <a:r>
                        <a:rPr lang="cs-CZ" sz="1200" dirty="0"/>
                        <a:t>Země</a:t>
                      </a:r>
                      <a:endParaRPr lang="cs-CZ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sng" dirty="0"/>
                        <a:t>14denní </a:t>
                      </a:r>
                      <a:r>
                        <a:rPr lang="cs-CZ" sz="1200" dirty="0"/>
                        <a:t>kumulativní</a:t>
                      </a:r>
                      <a:r>
                        <a:rPr lang="cs-CZ" sz="1200" baseline="0" dirty="0"/>
                        <a:t> p</a:t>
                      </a:r>
                      <a:r>
                        <a:rPr lang="cs-CZ" sz="1200" dirty="0"/>
                        <a:t>očet úmrtí</a:t>
                      </a:r>
                      <a:r>
                        <a:rPr lang="cs-CZ" sz="1200" baseline="0" dirty="0"/>
                        <a:t> na </a:t>
                      </a:r>
                      <a:r>
                        <a:rPr lang="cs-CZ" sz="1200" u="sng" baseline="0" dirty="0"/>
                        <a:t>100 tisíc osob</a:t>
                      </a:r>
                      <a:endParaRPr lang="cs-CZ" sz="120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dirty="0"/>
                        <a:t>7denní </a:t>
                      </a: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</a:t>
                      </a: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izozem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7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r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6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ucembur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4,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rtugal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7,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á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r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27969106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tálie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3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rancie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1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i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ypr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paněl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5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véd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6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chtenštej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7,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lta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668979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sland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76322813"/>
                  </a:ext>
                </a:extLst>
              </a:tr>
            </a:tbl>
          </a:graphicData>
        </a:graphic>
      </p:graphicFrame>
      <p:sp>
        <p:nvSpPr>
          <p:cNvPr id="9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/>
              <a:t>Úmrtí – srovnání zemí řazeno dle 14denních počtů na 100tis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3DAD6DAE-1E8D-4CA5-8E94-BEE4F57505CB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21151" y="6266552"/>
            <a:ext cx="66610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/>
              <a:t>Data jsou průběžným srovnáním hodnot jednotlivých států s omezenou interpretační hodnotou. Mortalita není ve všech státech průběžně vykazována stejně a je také rozdílně aktualizována v čase.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66082D44-DCFC-4188-A99C-A1E5233386C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725892" y="6316981"/>
            <a:ext cx="22582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Zdroj: ECDC, 18.11. 2021</a:t>
            </a:r>
          </a:p>
        </p:txBody>
      </p:sp>
    </p:spTree>
    <p:extLst>
      <p:ext uri="{BB962C8B-B14F-4D97-AF65-F5344CB8AC3E}">
        <p14:creationId xmlns:p14="http://schemas.microsoft.com/office/powerpoint/2010/main" val="27264589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8129973"/>
              </p:ext>
            </p:extLst>
          </p:nvPr>
        </p:nvGraphicFramePr>
        <p:xfrm>
          <a:off x="2570678" y="1043782"/>
          <a:ext cx="6684884" cy="553391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6712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712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7122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7122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400" dirty="0"/>
                        <a:t>Země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/>
                        <a:t>Zkratka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dirty="0"/>
                        <a:t>Země</a:t>
                      </a:r>
                      <a:endParaRPr lang="cs-CZ" sz="140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u="none" dirty="0"/>
                        <a:t>Zkratka</a:t>
                      </a:r>
                      <a:endParaRPr lang="cs-CZ" sz="1400" u="none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Belg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B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Maďa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HU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Bulha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BG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Malta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M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Česká republika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CZ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Němec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D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Dá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DK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Nizozem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NL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Esto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E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No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N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Fi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FI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Pol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PL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Franc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FR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Portugal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P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Chorvat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HR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Rakou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A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I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Rumu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R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400" u="none" strike="noStrike" kern="1200" dirty="0">
                          <a:effectLst/>
                        </a:rPr>
                        <a:t>Island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u="none" strike="noStrike" kern="1200" dirty="0">
                          <a:effectLst/>
                        </a:rPr>
                        <a:t>IS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400" u="none" strike="noStrike" kern="1200" dirty="0">
                          <a:effectLst/>
                        </a:rPr>
                        <a:t>Řecko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u="none" strike="noStrike" kern="1200" dirty="0">
                          <a:effectLst/>
                        </a:rPr>
                        <a:t>EL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Itál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I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Slove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SK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Kypr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CY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Slovi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SI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Lichtenštej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LI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Španěl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ES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Litva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L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Švéd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S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Lotyš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LV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Velká Britán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UK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Lucembu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LU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Seznam zkratek zemí EU, EHP a Velké Británie</a:t>
            </a:r>
          </a:p>
        </p:txBody>
      </p:sp>
    </p:spTree>
    <p:extLst>
      <p:ext uri="{BB962C8B-B14F-4D97-AF65-F5344CB8AC3E}">
        <p14:creationId xmlns:p14="http://schemas.microsoft.com/office/powerpoint/2010/main" val="15136243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8.11. 2021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9115156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04665"/>
            <a:ext cx="4471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14 denní kumulativní počet úmrtí </a:t>
            </a:r>
          </a:p>
          <a:p>
            <a:pPr algn="ctr"/>
            <a:r>
              <a:rPr lang="cs-CZ" b="1" dirty="0"/>
              <a:t>na 100 tisíc osob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254066" y="5243066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3">
                    <a:lumMod val="50000"/>
                  </a:schemeClr>
                </a:solidFill>
              </a:rPr>
              <a:t>S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268881" y="4345787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>
                    <a:lumMod val="50000"/>
                  </a:schemeClr>
                </a:solidFill>
              </a:rPr>
              <a:t>HU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62692" y="5058533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996633"/>
                </a:solidFill>
              </a:rPr>
              <a:t>PL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260569" y="4881678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/>
                </a:solidFill>
              </a:rPr>
              <a:t>CZ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6896885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</a:t>
            </a:r>
            <a:r>
              <a:rPr lang="cs-CZ" sz="2000" u="sng" dirty="0">
                <a:latin typeface="+mj-lt"/>
              </a:rPr>
              <a:t>14denního</a:t>
            </a:r>
            <a:r>
              <a:rPr lang="cs-CZ" sz="2000" dirty="0">
                <a:latin typeface="+mj-lt"/>
              </a:rPr>
              <a:t> kumulativního počtu úmrtí </a:t>
            </a:r>
            <a:br>
              <a:rPr lang="cs-CZ" sz="2000" dirty="0">
                <a:latin typeface="+mj-lt"/>
              </a:rPr>
            </a:br>
            <a:r>
              <a:rPr lang="cs-CZ" sz="2000" dirty="0">
                <a:latin typeface="+mj-lt"/>
              </a:rPr>
              <a:t>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070847" y="3394946"/>
            <a:ext cx="2904485" cy="2264253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vývoj </a:t>
            </a:r>
            <a:r>
              <a:rPr lang="cs-CZ" sz="1600" b="1" u="sng" dirty="0">
                <a:solidFill>
                  <a:schemeClr val="tx1"/>
                </a:solidFill>
              </a:rPr>
              <a:t>14denního kumulativního </a:t>
            </a:r>
            <a:r>
              <a:rPr lang="cs-CZ" sz="1600" dirty="0">
                <a:solidFill>
                  <a:schemeClr val="tx1"/>
                </a:solidFill>
              </a:rPr>
              <a:t>počtu úmrtí od 1. týdne roku 2021 (4.1.—10.1.)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45. týdne roku 2021 (8.11.—14.11.) </a:t>
            </a:r>
            <a:r>
              <a:rPr lang="cs-CZ" sz="1600" b="1" u="sng" dirty="0">
                <a:solidFill>
                  <a:schemeClr val="tx1"/>
                </a:solidFill>
              </a:rPr>
              <a:t>přepočítaného na 100 tisíc osob.</a:t>
            </a:r>
          </a:p>
        </p:txBody>
      </p:sp>
    </p:spTree>
    <p:extLst>
      <p:ext uri="{BB962C8B-B14F-4D97-AF65-F5344CB8AC3E}">
        <p14:creationId xmlns:p14="http://schemas.microsoft.com/office/powerpoint/2010/main" val="25392050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8.11. 2021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3989369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04665"/>
            <a:ext cx="4471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7 denní kumulativní počet úmrtí </a:t>
            </a:r>
          </a:p>
          <a:p>
            <a:pPr algn="ctr"/>
            <a:r>
              <a:rPr lang="cs-CZ" b="1" dirty="0"/>
              <a:t>na 100 tisíc osob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264956" y="5275670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3">
                    <a:lumMod val="50000"/>
                  </a:schemeClr>
                </a:solidFill>
              </a:rPr>
              <a:t>S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264957" y="4327248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>
                    <a:lumMod val="50000"/>
                  </a:schemeClr>
                </a:solidFill>
              </a:rPr>
              <a:t>HU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66920" y="5033910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996633"/>
                </a:solidFill>
              </a:rPr>
              <a:t>PL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251595" y="4838662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/>
                </a:solidFill>
              </a:rPr>
              <a:t>CZ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6896885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</a:t>
            </a:r>
            <a:r>
              <a:rPr lang="cs-CZ" sz="2000" u="sng" dirty="0">
                <a:latin typeface="+mj-lt"/>
              </a:rPr>
              <a:t>7denního</a:t>
            </a:r>
            <a:r>
              <a:rPr lang="cs-CZ" sz="2000" dirty="0">
                <a:latin typeface="+mj-lt"/>
              </a:rPr>
              <a:t> kumulativního počtu úmrtí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1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070847" y="3394946"/>
            <a:ext cx="2904485" cy="2264253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vývoj </a:t>
            </a:r>
            <a:r>
              <a:rPr lang="cs-CZ" sz="1600" b="1" u="sng" dirty="0">
                <a:solidFill>
                  <a:schemeClr val="tx1"/>
                </a:solidFill>
              </a:rPr>
              <a:t>7denního kumulativního </a:t>
            </a:r>
            <a:r>
              <a:rPr lang="cs-CZ" sz="1600" dirty="0">
                <a:solidFill>
                  <a:schemeClr val="tx1"/>
                </a:solidFill>
              </a:rPr>
              <a:t>počtu úmrtí od 1. týdne roku 2021 (4.1.—10.1.)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45. týdne roku 2021 (8.11.—14.11.) </a:t>
            </a:r>
            <a:r>
              <a:rPr lang="cs-CZ" sz="1600" b="1" u="sng" dirty="0">
                <a:solidFill>
                  <a:schemeClr val="tx1"/>
                </a:solidFill>
              </a:rPr>
              <a:t>přepočítaného na 100 tisíc osob.</a:t>
            </a:r>
          </a:p>
        </p:txBody>
      </p:sp>
    </p:spTree>
    <p:extLst>
      <p:ext uri="{BB962C8B-B14F-4D97-AF65-F5344CB8AC3E}">
        <p14:creationId xmlns:p14="http://schemas.microsoft.com/office/powerpoint/2010/main" val="94240582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8.11. 2021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652063" y="3464759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měr kumulativního počtu úmrtí ke kumulativnímu počtu potvrzených případů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1383850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919773" y="2244436"/>
            <a:ext cx="3156144" cy="356315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poměr kumulativního počtu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úmrtí ke </a:t>
            </a:r>
            <a:r>
              <a:rPr lang="cs-CZ" sz="1600" b="1" u="sng" dirty="0">
                <a:solidFill>
                  <a:schemeClr val="tx1"/>
                </a:solidFill>
              </a:rPr>
              <a:t>kumulativnímu počtu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potvrzených případů onemocnění od začátku epidemie do 14.11. 2021</a:t>
            </a:r>
            <a:br>
              <a:rPr lang="cs-CZ" sz="1600" dirty="0">
                <a:solidFill>
                  <a:schemeClr val="tx1"/>
                </a:solidFill>
              </a:rPr>
            </a:br>
            <a:r>
              <a:rPr lang="cs-CZ" sz="1600" b="1" dirty="0">
                <a:solidFill>
                  <a:schemeClr val="tx1"/>
                </a:solidFill>
              </a:rPr>
              <a:t>(„naivní“ case fatality </a:t>
            </a:r>
            <a:r>
              <a:rPr lang="cs-CZ" sz="1600" b="1" dirty="0" err="1">
                <a:solidFill>
                  <a:schemeClr val="tx1"/>
                </a:solidFill>
              </a:rPr>
              <a:t>rate</a:t>
            </a:r>
            <a:r>
              <a:rPr lang="cs-CZ" sz="1600" b="1" dirty="0">
                <a:solidFill>
                  <a:schemeClr val="tx1"/>
                </a:solidFill>
              </a:rPr>
              <a:t>, </a:t>
            </a:r>
            <a:br>
              <a:rPr lang="cs-CZ" sz="1600" b="1" dirty="0">
                <a:solidFill>
                  <a:schemeClr val="tx1"/>
                </a:solidFill>
              </a:rPr>
            </a:br>
            <a:r>
              <a:rPr lang="cs-CZ" sz="1600" b="1" dirty="0">
                <a:solidFill>
                  <a:schemeClr val="tx1"/>
                </a:solidFill>
              </a:rPr>
              <a:t>v případě rychlého růstu počtu případů je nezbytná opatrná interpretace)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měr úmrtí a potvrzených případů onemocnění v zemích EU, EHP a Velké Británii </a:t>
            </a:r>
            <a:r>
              <a:rPr lang="cs-CZ" sz="2000" u="sng" dirty="0">
                <a:latin typeface="+mj-lt"/>
              </a:rPr>
              <a:t>od začátku epidemie</a:t>
            </a:r>
          </a:p>
        </p:txBody>
      </p:sp>
      <p:sp>
        <p:nvSpPr>
          <p:cNvPr id="11" name="Obdélník 10"/>
          <p:cNvSpPr/>
          <p:nvPr>
            <p:custDataLst>
              <p:tags r:id="rId4"/>
            </p:custDataLst>
          </p:nvPr>
        </p:nvSpPr>
        <p:spPr>
          <a:xfrm rot="16200000">
            <a:off x="3772164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14" name="TextovéPole 13"/>
          <p:cNvSpPr txBox="1"/>
          <p:nvPr/>
        </p:nvSpPr>
        <p:spPr>
          <a:xfrm>
            <a:off x="5321102" y="1050408"/>
            <a:ext cx="651636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Zveřejňované hodnoty a rozdíly mezi státy odrážejí rozdílné testovací strategie. Státy také rozdílně v čase aktualizují publikovaná data. Vedle možných rozdílů </a:t>
            </a:r>
            <a:br>
              <a:rPr lang="cs-CZ" sz="1400" i="1" dirty="0"/>
            </a:br>
            <a:r>
              <a:rPr lang="cs-CZ" sz="1400" i="1" dirty="0"/>
              <a:t>v dostupnosti a úspěšnosti léčebné péče může ukazatel svědčit zejména </a:t>
            </a:r>
          </a:p>
          <a:p>
            <a:pPr algn="r"/>
            <a:r>
              <a:rPr lang="cs-CZ" sz="1400" i="1" dirty="0"/>
              <a:t>o relativním „</a:t>
            </a:r>
            <a:r>
              <a:rPr lang="cs-CZ" sz="1400" i="1" dirty="0" err="1"/>
              <a:t>podhlášení</a:t>
            </a:r>
            <a:r>
              <a:rPr lang="cs-CZ" sz="1400" i="1" dirty="0"/>
              <a:t>“ počtu případů nebo naopak zemřelých.</a:t>
            </a:r>
          </a:p>
        </p:txBody>
      </p:sp>
    </p:spTree>
    <p:extLst>
      <p:ext uri="{BB962C8B-B14F-4D97-AF65-F5344CB8AC3E}">
        <p14:creationId xmlns:p14="http://schemas.microsoft.com/office/powerpoint/2010/main" val="2523790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400" dirty="0">
                <a:latin typeface="+mj-lt"/>
              </a:rPr>
              <a:t>Hodnocení pandemie COVID-19 </a:t>
            </a:r>
            <a:br>
              <a:rPr lang="cs-CZ" sz="4400" dirty="0">
                <a:latin typeface="+mj-lt"/>
              </a:rPr>
            </a:br>
            <a:r>
              <a:rPr lang="cs-CZ" sz="44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19212" y="4196029"/>
            <a:ext cx="9553575" cy="1564691"/>
          </a:xfrm>
        </p:spPr>
        <p:txBody>
          <a:bodyPr>
            <a:normAutofit/>
          </a:bodyPr>
          <a:lstStyle/>
          <a:p>
            <a:r>
              <a:rPr lang="cs-CZ" sz="4800" b="1" dirty="0"/>
              <a:t>Očkování v mezinárodním srovnání</a:t>
            </a:r>
          </a:p>
        </p:txBody>
      </p:sp>
    </p:spTree>
    <p:extLst>
      <p:ext uri="{BB962C8B-B14F-4D97-AF65-F5344CB8AC3E}">
        <p14:creationId xmlns:p14="http://schemas.microsoft.com/office/powerpoint/2010/main" val="129113640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7463" y="3088104"/>
            <a:ext cx="45865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očkováním z počtu obyvatel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9497821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919773" y="2762250"/>
            <a:ext cx="3156144" cy="294230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podíl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osob s vykázaným očkováním 1. dávkou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17.11. 2021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vykázaným očkováním </a:t>
            </a:r>
            <a:r>
              <a:rPr lang="cs-CZ" sz="2000" u="sng" dirty="0">
                <a:latin typeface="+mj-lt"/>
              </a:rPr>
              <a:t>1. dávkou</a:t>
            </a:r>
            <a:r>
              <a:rPr lang="cs-CZ" sz="2000" dirty="0">
                <a:latin typeface="+mj-lt"/>
              </a:rPr>
              <a:t> v zemích EU a EHP</a:t>
            </a:r>
          </a:p>
        </p:txBody>
      </p:sp>
      <p:sp>
        <p:nvSpPr>
          <p:cNvPr id="11" name="Obdélník 10"/>
          <p:cNvSpPr/>
          <p:nvPr>
            <p:custDataLst>
              <p:tags r:id="rId3"/>
            </p:custDataLst>
          </p:nvPr>
        </p:nvSpPr>
        <p:spPr>
          <a:xfrm rot="16200000">
            <a:off x="6200855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8.11. 2021</a:t>
            </a:r>
          </a:p>
        </p:txBody>
      </p:sp>
      <p:sp>
        <p:nvSpPr>
          <p:cNvPr id="2" name="Obdélník 1"/>
          <p:cNvSpPr/>
          <p:nvPr/>
        </p:nvSpPr>
        <p:spPr>
          <a:xfrm>
            <a:off x="6525428" y="927456"/>
            <a:ext cx="444737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i="1" dirty="0"/>
              <a:t>Členské státy mohou hlásit údaje kdykoli, požaduje se však od nich, aby to učinily alespoň dvakrát týdně. S ohledem na tento fakt lze pozorovat určité nesrovnalosti mezi čísly zveřejněnými ECDC a údaji uvedenými na oficiálních webových stránkách jednotlivých zemí. </a:t>
            </a:r>
          </a:p>
        </p:txBody>
      </p:sp>
    </p:spTree>
    <p:extLst>
      <p:ext uri="{BB962C8B-B14F-4D97-AF65-F5344CB8AC3E}">
        <p14:creationId xmlns:p14="http://schemas.microsoft.com/office/powerpoint/2010/main" val="228567675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4392678"/>
              </p:ext>
            </p:extLst>
          </p:nvPr>
        </p:nvGraphicFramePr>
        <p:xfrm>
          <a:off x="775744" y="840581"/>
          <a:ext cx="5013663" cy="5227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/>
                        <a:t>Pořadí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/>
                        <a:t>Země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očkováním 1. dávkou z počtu obyvatel ve věku 18 a více let</a:t>
                      </a:r>
                      <a:r>
                        <a:rPr lang="cs-CZ" sz="1300" b="1" baseline="0" dirty="0"/>
                        <a:t> do 17.11. 2021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rtuga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9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3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lt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3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slan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2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2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paně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1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á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0,0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rancie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0,0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i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8,5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izozem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8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tálie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8,1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lgie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8,0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véd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6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ěmec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3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ypr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2,2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</a:t>
            </a:r>
            <a:r>
              <a:rPr lang="cs-CZ" sz="2000" dirty="0"/>
              <a:t>vykázaným </a:t>
            </a:r>
            <a:r>
              <a:rPr lang="cs-CZ" sz="2000" dirty="0">
                <a:latin typeface="+mj-lt"/>
              </a:rPr>
              <a:t>očkováním </a:t>
            </a:r>
            <a:r>
              <a:rPr lang="cs-CZ" sz="2000" u="sng" dirty="0">
                <a:latin typeface="+mj-lt"/>
              </a:rPr>
              <a:t>1. dávkou</a:t>
            </a:r>
            <a:r>
              <a:rPr lang="cs-CZ" sz="2000" dirty="0">
                <a:latin typeface="+mj-lt"/>
              </a:rPr>
              <a:t> v zemích EU a EHP</a:t>
            </a:r>
            <a:endParaRPr lang="cs-CZ" sz="2000" u="sng" dirty="0">
              <a:latin typeface="+mj-lt"/>
            </a:endParaRP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906453"/>
              </p:ext>
            </p:extLst>
          </p:nvPr>
        </p:nvGraphicFramePr>
        <p:xfrm>
          <a:off x="6058960" y="857516"/>
          <a:ext cx="5013663" cy="5227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/>
                        <a:t>Pořadí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/>
                        <a:t>Země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očkováním 1. dávkou z počtu obyvatel ve věku 18 a více let</a:t>
                      </a:r>
                      <a:r>
                        <a:rPr lang="cs-CZ" sz="1300" b="1" baseline="0" dirty="0"/>
                        <a:t> do 17.11. 2021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akou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9,7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ucembur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9,1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chtenštej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7,0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tva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6,1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ec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3,9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otyš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2,7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sto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1,6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.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Česká republika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0,5 %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ďar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0,0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i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7,6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l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2,9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horvat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0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e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5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umu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6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ulh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1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405521"/>
                  </a:ext>
                </a:extLst>
              </a:tr>
            </a:tbl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554588" y="633516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18.11. 2021</a:t>
            </a:r>
          </a:p>
        </p:txBody>
      </p:sp>
    </p:spTree>
    <p:extLst>
      <p:ext uri="{BB962C8B-B14F-4D97-AF65-F5344CB8AC3E}">
        <p14:creationId xmlns:p14="http://schemas.microsoft.com/office/powerpoint/2010/main" val="222909177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7463" y="3088104"/>
            <a:ext cx="45865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očkováním z počtu obyvatel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5584811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919773" y="2762250"/>
            <a:ext cx="3156144" cy="294230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podíl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osob s vykázaným úplným očkováním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17.11. 2021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vykázaným </a:t>
            </a:r>
            <a:r>
              <a:rPr lang="cs-CZ" sz="2000" u="sng" dirty="0">
                <a:latin typeface="+mj-lt"/>
              </a:rPr>
              <a:t>úplným</a:t>
            </a:r>
            <a:r>
              <a:rPr lang="cs-CZ" sz="2000" dirty="0">
                <a:latin typeface="+mj-lt"/>
              </a:rPr>
              <a:t> očkováním v zemích EU a EHP</a:t>
            </a:r>
          </a:p>
        </p:txBody>
      </p:sp>
      <p:sp>
        <p:nvSpPr>
          <p:cNvPr id="11" name="Obdélník 10"/>
          <p:cNvSpPr/>
          <p:nvPr>
            <p:custDataLst>
              <p:tags r:id="rId3"/>
            </p:custDataLst>
          </p:nvPr>
        </p:nvSpPr>
        <p:spPr>
          <a:xfrm rot="16200000">
            <a:off x="5728719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8.11. 2021</a:t>
            </a:r>
          </a:p>
        </p:txBody>
      </p:sp>
      <p:sp>
        <p:nvSpPr>
          <p:cNvPr id="15" name="Obdélník 14"/>
          <p:cNvSpPr/>
          <p:nvPr/>
        </p:nvSpPr>
        <p:spPr>
          <a:xfrm>
            <a:off x="6525428" y="927456"/>
            <a:ext cx="444737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i="1" dirty="0"/>
              <a:t>Členské státy mohou hlásit údaje kdykoli, požaduje se však od nich, aby to učinily alespoň dvakrát týdně. S ohledem na tento fakt lze pozorovat určité nesrovnalosti mezi čísly zveřejněnými ECDC a údaji uvedenými na oficiálních webových stránkách jednotlivých zemí. </a:t>
            </a:r>
          </a:p>
        </p:txBody>
      </p:sp>
    </p:spTree>
    <p:extLst>
      <p:ext uri="{BB962C8B-B14F-4D97-AF65-F5344CB8AC3E}">
        <p14:creationId xmlns:p14="http://schemas.microsoft.com/office/powerpoint/2010/main" val="153339239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1316490"/>
              </p:ext>
            </p:extLst>
          </p:nvPr>
        </p:nvGraphicFramePr>
        <p:xfrm>
          <a:off x="775744" y="840581"/>
          <a:ext cx="5013663" cy="5227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/>
                        <a:t>Pořadí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/>
                        <a:t>Země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úplným očkováním z počtu obyvatel ve věku 18 a více let</a:t>
                      </a:r>
                      <a:r>
                        <a:rPr lang="cs-CZ" sz="1300" b="1" baseline="0" dirty="0"/>
                        <a:t> do 17.11. 2021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2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rtuga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1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lt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1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slan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1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á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8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r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8,0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lgie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6,8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paněl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4,2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i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3,3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véd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2,8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tálie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2,0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rancie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1,2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ěmec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0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83369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izozem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0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ypr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0,1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vykázaným </a:t>
            </a:r>
            <a:r>
              <a:rPr lang="cs-CZ" sz="2000" u="sng" dirty="0">
                <a:latin typeface="+mj-lt"/>
              </a:rPr>
              <a:t>úplným</a:t>
            </a:r>
            <a:r>
              <a:rPr lang="cs-CZ" sz="2000" dirty="0">
                <a:latin typeface="+mj-lt"/>
              </a:rPr>
              <a:t> očkováním v zemích EU a EHP</a:t>
            </a:r>
            <a:endParaRPr lang="cs-CZ" sz="2000" u="sng" dirty="0">
              <a:latin typeface="+mj-lt"/>
            </a:endParaRP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9861258"/>
              </p:ext>
            </p:extLst>
          </p:nvPr>
        </p:nvGraphicFramePr>
        <p:xfrm>
          <a:off x="6058960" y="857516"/>
          <a:ext cx="5013663" cy="5227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>
                          <a:latin typeface="+mj-lt"/>
                        </a:rPr>
                        <a:t>Pořadí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>
                          <a:latin typeface="+mj-lt"/>
                        </a:rPr>
                        <a:t>Země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úplným očkováním z počtu obyvatel ve věku 18 a více let</a:t>
                      </a:r>
                      <a:r>
                        <a:rPr lang="cs-CZ" sz="1300" b="1" baseline="0" dirty="0"/>
                        <a:t> do 17.11. 2021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ucembu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6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akou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4,3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tva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2,2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chtenštej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1,4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ec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1,1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.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Česká republika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8,2 %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ďar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7,6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sto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6,9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otyš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6,0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i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3,9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l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2,0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horvat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5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e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4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umu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2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ulh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56862735"/>
                  </a:ext>
                </a:extLst>
              </a:tr>
            </a:tbl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554588" y="633516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18.11. 2021</a:t>
            </a:r>
          </a:p>
        </p:txBody>
      </p:sp>
    </p:spTree>
    <p:extLst>
      <p:ext uri="{BB962C8B-B14F-4D97-AF65-F5344CB8AC3E}">
        <p14:creationId xmlns:p14="http://schemas.microsoft.com/office/powerpoint/2010/main" val="343446215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8.11. 2021</a:t>
            </a:r>
          </a:p>
        </p:txBody>
      </p:sp>
      <p:sp>
        <p:nvSpPr>
          <p:cNvPr id="15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828333" y="2709333"/>
            <a:ext cx="3156144" cy="306883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</a:t>
            </a:r>
            <a:r>
              <a:rPr lang="cs-CZ" sz="1600" b="1" u="sng" dirty="0">
                <a:solidFill>
                  <a:schemeClr val="tx1"/>
                </a:solidFill>
              </a:rPr>
              <a:t> podíl</a:t>
            </a:r>
            <a:r>
              <a:rPr lang="cs-CZ" sz="1600" dirty="0">
                <a:solidFill>
                  <a:schemeClr val="tx1"/>
                </a:solidFill>
              </a:rPr>
              <a:t> osob s vykázaným očkováním 1. dávkou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</a:t>
            </a:r>
            <a:r>
              <a:rPr lang="cs-CZ" sz="1600" u="sng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a </a:t>
            </a:r>
            <a:r>
              <a:rPr lang="cs-CZ" sz="1600" b="1" u="sng" dirty="0">
                <a:solidFill>
                  <a:schemeClr val="tx1"/>
                </a:solidFill>
              </a:rPr>
              <a:t>podíl </a:t>
            </a:r>
            <a:r>
              <a:rPr lang="cs-CZ" sz="1600" dirty="0">
                <a:solidFill>
                  <a:schemeClr val="tx1"/>
                </a:solidFill>
              </a:rPr>
              <a:t>osob s vykázaným úplným očkováním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</a:t>
            </a:r>
            <a:r>
              <a:rPr lang="cs-CZ" sz="1600" dirty="0">
                <a:solidFill>
                  <a:schemeClr val="tx1"/>
                </a:solidFill>
              </a:rPr>
              <a:t> do 17.11. 2021.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2042482" y="3387735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úplným očkováním z počtu obyvatel</a:t>
            </a:r>
          </a:p>
        </p:txBody>
      </p:sp>
      <p:graphicFrame>
        <p:nvGraphicFramePr>
          <p:cNvPr id="17" name="Zástupný symbol pro obsah 6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83213365"/>
              </p:ext>
            </p:extLst>
          </p:nvPr>
        </p:nvGraphicFramePr>
        <p:xfrm>
          <a:off x="532014" y="1233288"/>
          <a:ext cx="7601681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TextovéPole 17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>
            <a:off x="723208" y="6412408"/>
            <a:ext cx="73900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očkováním 1. dávkou z počtu obyvatel</a:t>
            </a:r>
          </a:p>
        </p:txBody>
      </p:sp>
      <p:sp>
        <p:nvSpPr>
          <p:cNvPr id="11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Srovnání podílů osob s vykázaným očkováním 1. dávkou a osob s vykázaným úplným očkováním v zemích EU a EHP</a:t>
            </a:r>
            <a:endParaRPr lang="cs-CZ" sz="2000" u="sng" dirty="0">
              <a:latin typeface="+mj-lt"/>
            </a:endParaRPr>
          </a:p>
        </p:txBody>
      </p:sp>
      <p:sp>
        <p:nvSpPr>
          <p:cNvPr id="13" name="Obdélník 12"/>
          <p:cNvSpPr/>
          <p:nvPr/>
        </p:nvSpPr>
        <p:spPr>
          <a:xfrm>
            <a:off x="6045200" y="690389"/>
            <a:ext cx="608753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i="1" dirty="0"/>
              <a:t>Členské státy mohou reportovat údaje kdykoli, požaduje se však od nich, aby to učinily alespoň dvakrát týdně. S ohledem na tento fakt lze pozorovat určité nesrovnalosti mezi čísly zveřejněnými ECDC a údaji uvedenými na oficiálních webových stránkách jednotlivých zemí. </a:t>
            </a:r>
          </a:p>
        </p:txBody>
      </p:sp>
    </p:spTree>
    <p:extLst>
      <p:ext uri="{BB962C8B-B14F-4D97-AF65-F5344CB8AC3E}">
        <p14:creationId xmlns:p14="http://schemas.microsoft.com/office/powerpoint/2010/main" val="35873375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400" dirty="0">
                <a:latin typeface="+mj-lt"/>
              </a:rPr>
              <a:t>Hodnocení pandemie COVID-19 </a:t>
            </a:r>
            <a:br>
              <a:rPr lang="cs-CZ" sz="4400" dirty="0">
                <a:latin typeface="+mj-lt"/>
              </a:rPr>
            </a:br>
            <a:r>
              <a:rPr lang="cs-CZ" sz="44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19212" y="3693109"/>
            <a:ext cx="9553575" cy="1253795"/>
          </a:xfrm>
        </p:spPr>
        <p:txBody>
          <a:bodyPr>
            <a:normAutofit/>
          </a:bodyPr>
          <a:lstStyle/>
          <a:p>
            <a:r>
              <a:rPr lang="cs-CZ" sz="4800" b="1" dirty="0"/>
              <a:t>Počty nově diagnostikovaných 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658368" y="4946904"/>
            <a:ext cx="10387584" cy="707886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000" b="1" dirty="0">
                <a:solidFill>
                  <a:schemeClr val="bg1"/>
                </a:solidFill>
              </a:rPr>
              <a:t>Počty nově vykázaných diagnóz závisí na počtech testů – nejednotnost strategií testování činí tato data mezinárodně téměř nesrovnatelná </a:t>
            </a:r>
          </a:p>
        </p:txBody>
      </p:sp>
    </p:spTree>
    <p:extLst>
      <p:ext uri="{BB962C8B-B14F-4D97-AF65-F5344CB8AC3E}">
        <p14:creationId xmlns:p14="http://schemas.microsoft.com/office/powerpoint/2010/main" val="26264018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 Evropě se epidemická situace zhoršuje</a:t>
            </a:r>
          </a:p>
        </p:txBody>
      </p:sp>
      <p:sp>
        <p:nvSpPr>
          <p:cNvPr id="13" name="TextovéPole 12"/>
          <p:cNvSpPr txBox="1"/>
          <p:nvPr>
            <p:custDataLst>
              <p:tags r:id="rId1"/>
            </p:custDataLst>
          </p:nvPr>
        </p:nvSpPr>
        <p:spPr>
          <a:xfrm>
            <a:off x="173582" y="1010209"/>
            <a:ext cx="319615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2200" b="1" dirty="0">
                <a:solidFill>
                  <a:srgbClr val="C00000"/>
                </a:solidFill>
                <a:latin typeface="Calibri" panose="020F0502020204030204"/>
              </a:rPr>
              <a:t>Mapa shrnuje aktualizovaná data ECDC k 14. 11. 2021.  </a:t>
            </a:r>
            <a:endParaRPr lang="cs-CZ" sz="2200" dirty="0">
              <a:solidFill>
                <a:srgbClr val="C00000"/>
              </a:solidFill>
              <a:latin typeface="Calibri" panose="020F0502020204030204"/>
            </a:endParaRP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19CA8B59-8DAD-4AEA-A5EF-D308745D89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08430" y="714895"/>
            <a:ext cx="8627762" cy="60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65445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737201" y="2313138"/>
            <a:ext cx="3200092" cy="358813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14denní kumulativní počet </a:t>
            </a:r>
            <a:r>
              <a:rPr lang="cs-CZ" sz="1600" dirty="0">
                <a:solidFill>
                  <a:schemeClr val="tx1"/>
                </a:solidFill>
              </a:rPr>
              <a:t>potvrzených případů onemocnění </a:t>
            </a:r>
            <a:r>
              <a:rPr lang="cs-CZ" sz="1600" b="1" u="sng" dirty="0">
                <a:solidFill>
                  <a:schemeClr val="tx1"/>
                </a:solidFill>
              </a:rPr>
              <a:t>přepočítaný na 100 tisíc osob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k 31.10. 2021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a 14.11. 2021.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330958" y="3264096"/>
            <a:ext cx="41323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14denní kumulativní počet případů onemocnění na 100 tisíc osob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9383532" y="5986979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8.11. 2021</a:t>
            </a:r>
          </a:p>
        </p:txBody>
      </p:sp>
      <p:graphicFrame>
        <p:nvGraphicFramePr>
          <p:cNvPr id="9" name="Zástupný symbol pro obsah 6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29693094"/>
              </p:ext>
            </p:extLst>
          </p:nvPr>
        </p:nvGraphicFramePr>
        <p:xfrm>
          <a:off x="1058400" y="985421"/>
          <a:ext cx="7678800" cy="54441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1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2665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čet potvrzených případů onemocnění v zemích EU, EHP </a:t>
            </a:r>
            <a:br>
              <a:rPr lang="cs-CZ" sz="2000" dirty="0">
                <a:latin typeface="+mj-lt"/>
              </a:rPr>
            </a:br>
            <a:r>
              <a:rPr lang="cs-CZ" sz="2000" dirty="0">
                <a:latin typeface="+mj-lt"/>
              </a:rPr>
              <a:t>a Velké Británii (14denní kumulativní počet)</a:t>
            </a:r>
          </a:p>
        </p:txBody>
      </p:sp>
      <p:sp>
        <p:nvSpPr>
          <p:cNvPr id="12" name="Obdélník 11"/>
          <p:cNvSpPr/>
          <p:nvPr>
            <p:custDataLst>
              <p:tags r:id="rId4"/>
            </p:custDataLst>
          </p:nvPr>
        </p:nvSpPr>
        <p:spPr>
          <a:xfrm rot="16200000">
            <a:off x="2207636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7534656" y="1574473"/>
            <a:ext cx="428307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Zveřejňované hodnoty a rozdíly mezi státy odrážejí zejména rozdílné testovací strategie. Státy také různě v čase aktualizují publikovaná data.</a:t>
            </a:r>
          </a:p>
        </p:txBody>
      </p:sp>
    </p:spTree>
    <p:extLst>
      <p:ext uri="{BB962C8B-B14F-4D97-AF65-F5344CB8AC3E}">
        <p14:creationId xmlns:p14="http://schemas.microsoft.com/office/powerpoint/2010/main" val="26203659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8.11. 2021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8061877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04665"/>
            <a:ext cx="4471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14 denní kumulativní počet případů onemocnění 100 tisíc osob</a:t>
            </a:r>
          </a:p>
        </p:txBody>
      </p:sp>
      <p:sp>
        <p:nvSpPr>
          <p:cNvPr id="15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70847" y="1769533"/>
            <a:ext cx="2904485" cy="438148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vývoj </a:t>
            </a:r>
            <a:r>
              <a:rPr lang="cs-CZ" sz="1600" b="1" u="sng" dirty="0">
                <a:solidFill>
                  <a:schemeClr val="tx1"/>
                </a:solidFill>
              </a:rPr>
              <a:t>14denního kumulativního </a:t>
            </a:r>
            <a:r>
              <a:rPr lang="cs-CZ" sz="1600" dirty="0">
                <a:solidFill>
                  <a:schemeClr val="tx1"/>
                </a:solidFill>
              </a:rPr>
              <a:t>počtu potvrzených případů onemocnění od 1. týdne roku 2021 (4.1.—10.1.)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45. týdne roku 2021 (8.11.—14.11.) </a:t>
            </a:r>
            <a:r>
              <a:rPr lang="cs-CZ" sz="1600" b="1" u="sng" dirty="0">
                <a:solidFill>
                  <a:schemeClr val="tx1"/>
                </a:solidFill>
              </a:rPr>
              <a:t>přepočítaného na 100 tisíc osob.</a:t>
            </a:r>
          </a:p>
          <a:p>
            <a:pPr algn="ctr"/>
            <a:endParaRPr lang="cs-CZ" sz="1600" b="1" u="sng" dirty="0">
              <a:solidFill>
                <a:schemeClr val="tx1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/>
        </p:nvSpPr>
        <p:spPr>
          <a:xfrm>
            <a:off x="8287472" y="1938575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3">
                    <a:lumMod val="50000"/>
                  </a:schemeClr>
                </a:solidFill>
              </a:rPr>
              <a:t>S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/>
        </p:nvSpPr>
        <p:spPr>
          <a:xfrm>
            <a:off x="8285356" y="3611874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>
                    <a:lumMod val="50000"/>
                  </a:schemeClr>
                </a:solidFill>
              </a:rPr>
              <a:t>HU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285509" y="4427512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996633"/>
                </a:solidFill>
              </a:rPr>
              <a:t>PL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/>
        </p:nvSpPr>
        <p:spPr>
          <a:xfrm>
            <a:off x="8285509" y="2915569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/>
                </a:solidFill>
              </a:rPr>
              <a:t>CZ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14denního kumulativního počtu potvrzených případů onemocnění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8" name="TextovéPole 17"/>
          <p:cNvSpPr txBox="1"/>
          <p:nvPr/>
        </p:nvSpPr>
        <p:spPr>
          <a:xfrm>
            <a:off x="8860536" y="745072"/>
            <a:ext cx="318579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Zveřejňované hodnoty a rozdíly mezi státy odrážejí zejména rozdílné testovací strategie. Státy také různě </a:t>
            </a:r>
          </a:p>
          <a:p>
            <a:pPr algn="r"/>
            <a:r>
              <a:rPr lang="cs-CZ" sz="1400" i="1" dirty="0"/>
              <a:t>v čase aktualizují publikovaná data.</a:t>
            </a:r>
          </a:p>
        </p:txBody>
      </p:sp>
    </p:spTree>
    <p:extLst>
      <p:ext uri="{BB962C8B-B14F-4D97-AF65-F5344CB8AC3E}">
        <p14:creationId xmlns:p14="http://schemas.microsoft.com/office/powerpoint/2010/main" val="28646037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8.11. 2021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8359825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04665"/>
            <a:ext cx="4471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7 denní kumulativní počet případů onemocnění 100 tisíc osob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7denního kumulativního počtu potvrzených případů onemocnění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70847" y="1741514"/>
            <a:ext cx="2904485" cy="43812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vývoj </a:t>
            </a:r>
            <a:r>
              <a:rPr lang="cs-CZ" sz="1600" b="1" u="sng" dirty="0">
                <a:solidFill>
                  <a:schemeClr val="tx1"/>
                </a:solidFill>
              </a:rPr>
              <a:t>7denního kumulativního </a:t>
            </a:r>
            <a:r>
              <a:rPr lang="cs-CZ" sz="1600" dirty="0">
                <a:solidFill>
                  <a:schemeClr val="tx1"/>
                </a:solidFill>
              </a:rPr>
              <a:t>počtu potvrzených případů onemocnění od 1. týdne roku 2021 (4.1.—10.1.)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45. týdne roku 2021 (8.11.—14.11.) </a:t>
            </a:r>
            <a:r>
              <a:rPr lang="cs-CZ" sz="1600" b="1" u="sng" dirty="0">
                <a:solidFill>
                  <a:schemeClr val="tx1"/>
                </a:solidFill>
              </a:rPr>
              <a:t>přepočítaného na 100 tisíc osob.</a:t>
            </a:r>
          </a:p>
        </p:txBody>
      </p:sp>
      <p:sp>
        <p:nvSpPr>
          <p:cNvPr id="18" name="TextovéPole 17"/>
          <p:cNvSpPr txBox="1"/>
          <p:nvPr/>
        </p:nvSpPr>
        <p:spPr>
          <a:xfrm>
            <a:off x="8860536" y="736609"/>
            <a:ext cx="318579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Zveřejňované hodnoty a rozdíly mezi státy odrážejí zejména rozdílné testovací strategie. Státy také různě </a:t>
            </a:r>
          </a:p>
          <a:p>
            <a:pPr algn="r"/>
            <a:r>
              <a:rPr lang="cs-CZ" sz="1400" i="1" dirty="0"/>
              <a:t>v čase aktualizují publikovaná data.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819BC0D0-959D-4E8E-A71C-05A83CEEEA6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268577" y="2038187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3">
                    <a:lumMod val="50000"/>
                  </a:schemeClr>
                </a:solidFill>
              </a:rPr>
              <a:t>SK</a:t>
            </a: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89EBFAB1-1614-4ECE-A214-7AF399DB0350}"/>
              </a:ext>
            </a:extLst>
          </p:cNvPr>
          <p:cNvSpPr txBox="1"/>
          <p:nvPr/>
        </p:nvSpPr>
        <p:spPr>
          <a:xfrm>
            <a:off x="8268730" y="3462254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>
                    <a:lumMod val="50000"/>
                  </a:schemeClr>
                </a:solidFill>
              </a:rPr>
              <a:t>HU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B1AA9DE3-6FB8-4639-B002-0E7FCE4D52A6}"/>
              </a:ext>
            </a:extLst>
          </p:cNvPr>
          <p:cNvSpPr txBox="1"/>
          <p:nvPr/>
        </p:nvSpPr>
        <p:spPr>
          <a:xfrm>
            <a:off x="8260570" y="4377631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996633"/>
                </a:solidFill>
              </a:rPr>
              <a:t>PL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CB9D7D5B-AF10-44B6-8594-DAA0A2D6545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52146" y="2776245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/>
                </a:solidFill>
              </a:rPr>
              <a:t>CZ</a:t>
            </a:r>
          </a:p>
        </p:txBody>
      </p:sp>
    </p:spTree>
    <p:extLst>
      <p:ext uri="{BB962C8B-B14F-4D97-AF65-F5344CB8AC3E}">
        <p14:creationId xmlns:p14="http://schemas.microsoft.com/office/powerpoint/2010/main" val="19710835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330958" y="3264096"/>
            <a:ext cx="41323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% změna týdenního kumulativního počtu potvrzených případů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8.11. 2021</a:t>
            </a:r>
          </a:p>
        </p:txBody>
      </p:sp>
      <p:sp>
        <p:nvSpPr>
          <p:cNvPr id="11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rocentuální změna týdenního kumulativního počtu potvrzených případů</a:t>
            </a: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988551" y="2485506"/>
            <a:ext cx="2986781" cy="350042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% změnu týdenního kumulativního</a:t>
            </a:r>
            <a:r>
              <a:rPr lang="cs-CZ" sz="1600" dirty="0">
                <a:solidFill>
                  <a:schemeClr val="tx1"/>
                </a:solidFill>
              </a:rPr>
              <a:t> </a:t>
            </a:r>
            <a:r>
              <a:rPr lang="cs-CZ" sz="1600" b="1" u="sng" dirty="0">
                <a:solidFill>
                  <a:schemeClr val="tx1"/>
                </a:solidFill>
              </a:rPr>
              <a:t>počtu</a:t>
            </a:r>
            <a:r>
              <a:rPr lang="cs-CZ" sz="1600" dirty="0">
                <a:solidFill>
                  <a:schemeClr val="tx1"/>
                </a:solidFill>
              </a:rPr>
              <a:t> potvrzených případů onemocnění v 43. týdnu vs. 42. týdnu a 45. týdnu vs. 44. týdnu roku 2021.</a:t>
            </a:r>
          </a:p>
          <a:p>
            <a:pPr algn="ctr"/>
            <a:endParaRPr lang="cs-CZ" sz="1600" dirty="0">
              <a:solidFill>
                <a:schemeClr val="tx1"/>
              </a:solidFill>
            </a:endParaRPr>
          </a:p>
        </p:txBody>
      </p:sp>
      <p:graphicFrame>
        <p:nvGraphicFramePr>
          <p:cNvPr id="12" name="Zástupný symbol pro obsah 6">
            <a:extLst>
              <a:ext uri="{FF2B5EF4-FFF2-40B4-BE49-F238E27FC236}">
                <a16:creationId xmlns:a16="http://schemas.microsoft.com/office/drawing/2014/main" id="{F13BB43F-25A2-477B-B389-4C1E0C908283}"/>
              </a:ext>
            </a:extLst>
          </p:cNvPr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69075073"/>
              </p:ext>
            </p:extLst>
          </p:nvPr>
        </p:nvGraphicFramePr>
        <p:xfrm>
          <a:off x="1058400" y="985421"/>
          <a:ext cx="7678800" cy="54441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0" name="Obdélník 9"/>
          <p:cNvSpPr/>
          <p:nvPr>
            <p:custDataLst>
              <p:tags r:id="rId4"/>
            </p:custDataLst>
          </p:nvPr>
        </p:nvSpPr>
        <p:spPr>
          <a:xfrm rot="16200000">
            <a:off x="1956417" y="588260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9" name="TextovéPole 8"/>
          <p:cNvSpPr txBox="1"/>
          <p:nvPr>
            <p:custDataLst>
              <p:tags r:id="rId5"/>
            </p:custDataLst>
          </p:nvPr>
        </p:nvSpPr>
        <p:spPr>
          <a:xfrm>
            <a:off x="8660504" y="964406"/>
            <a:ext cx="335369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>
                <a:solidFill>
                  <a:srgbClr val="C00000"/>
                </a:solidFill>
              </a:rPr>
              <a:t>Relativní změna v kumulativním počtu nově diagnostikovaných případů ukazuje na dynamiku šíření nákazy v čase. </a:t>
            </a:r>
          </a:p>
        </p:txBody>
      </p:sp>
    </p:spTree>
    <p:extLst>
      <p:ext uri="{BB962C8B-B14F-4D97-AF65-F5344CB8AC3E}">
        <p14:creationId xmlns:p14="http://schemas.microsoft.com/office/powerpoint/2010/main" val="20371787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400" dirty="0">
                <a:latin typeface="+mj-lt"/>
              </a:rPr>
              <a:t>Hodnocení pandemie COVID-19 </a:t>
            </a:r>
            <a:br>
              <a:rPr lang="cs-CZ" sz="4400" dirty="0">
                <a:latin typeface="+mj-lt"/>
              </a:rPr>
            </a:br>
            <a:r>
              <a:rPr lang="cs-CZ" sz="44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19212" y="3693109"/>
            <a:ext cx="9553575" cy="1253795"/>
          </a:xfrm>
        </p:spPr>
        <p:txBody>
          <a:bodyPr>
            <a:normAutofit/>
          </a:bodyPr>
          <a:lstStyle/>
          <a:p>
            <a:r>
              <a:rPr lang="cs-CZ" sz="4800" b="1" dirty="0"/>
              <a:t>Počty testů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658368" y="4946904"/>
            <a:ext cx="10387584" cy="707886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000" b="1" dirty="0">
                <a:solidFill>
                  <a:schemeClr val="bg1"/>
                </a:solidFill>
              </a:rPr>
              <a:t>Počty nově vykázaných diagnóz závisí na počtech testů – nejednotnost strategií testování činí tato data mezinárodně téměř nesrovnatelná </a:t>
            </a:r>
          </a:p>
        </p:txBody>
      </p:sp>
    </p:spTree>
    <p:extLst>
      <p:ext uri="{BB962C8B-B14F-4D97-AF65-F5344CB8AC3E}">
        <p14:creationId xmlns:p14="http://schemas.microsoft.com/office/powerpoint/2010/main" val="35551120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web-sablona</Template>
  <TotalTime>17145</TotalTime>
  <Words>3014</Words>
  <Application>Microsoft Office PowerPoint</Application>
  <PresentationFormat>Širokoúhlá obrazovka</PresentationFormat>
  <Paragraphs>975</Paragraphs>
  <Slides>28</Slides>
  <Notes>22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28</vt:i4>
      </vt:variant>
    </vt:vector>
  </HeadingPairs>
  <TitlesOfParts>
    <vt:vector size="32" baseType="lpstr">
      <vt:lpstr>Arial</vt:lpstr>
      <vt:lpstr>Arial (Základní text)</vt:lpstr>
      <vt:lpstr>Calibri</vt:lpstr>
      <vt:lpstr>Motiv Office</vt:lpstr>
      <vt:lpstr>Hodnocení pandemie COVID-19  v mezinárodním srovnání </vt:lpstr>
      <vt:lpstr>Seznam zkratek zemí EU, EHP a Velké Británie</vt:lpstr>
      <vt:lpstr>Hodnocení pandemie COVID-19  v mezinárodním srovnání </vt:lpstr>
      <vt:lpstr>V Evropě se epidemická situace zhoršuje</vt:lpstr>
      <vt:lpstr>Počet potvrzených případů onemocnění v zemích EU, EHP  a Velké Británii (14denní kumulativní počet)</vt:lpstr>
      <vt:lpstr>Vývoj 14denního kumulativního počtu potvrzených případů onemocnění ve vybraných evropských zemích</vt:lpstr>
      <vt:lpstr>Vývoj 7denního kumulativního počtu potvrzených případů onemocnění ve vybraných evropských zemích</vt:lpstr>
      <vt:lpstr>Procentuální změna týdenního kumulativního počtu potvrzených případů</vt:lpstr>
      <vt:lpstr>Hodnocení pandemie COVID-19  v mezinárodním srovnání </vt:lpstr>
      <vt:lpstr>Počet provedených testů v zemích EU a EHP</vt:lpstr>
      <vt:lpstr>Počet provedených testů v zemích EU a EHP  od 11.10. 2021 do 14.11. 2021</vt:lpstr>
      <vt:lpstr>Počet provedených testů v zemích EU a EHP  od začátku epidemie</vt:lpstr>
      <vt:lpstr>14denní podíl potvrzených případů z počtu provedených testů v zemích EU a EHP</vt:lpstr>
      <vt:lpstr>7denní podíl potvrzených případů z počtu provedených testů v zemích EU a EHP</vt:lpstr>
      <vt:lpstr>Vývoj podílu potvrzených případů z počtu provedených testů ve vybraných evropských zemích</vt:lpstr>
      <vt:lpstr>Hodnocení pandemie COVID-19  v mezinárodním srovnání </vt:lpstr>
      <vt:lpstr>Úmrtí – srovnání zemí řazeno dle kumulativního počtu na 100tis. </vt:lpstr>
      <vt:lpstr>Úmrtí – srovnání zemí řazeno dle 7denních počtů na 100tis.</vt:lpstr>
      <vt:lpstr>Úmrtí – srovnání zemí řazeno dle 14denních počtů na 100tis</vt:lpstr>
      <vt:lpstr>Vývoj 14denního kumulativního počtu úmrtí  ve vybraných evropských zemích</vt:lpstr>
      <vt:lpstr>Vývoj 7denního kumulativního počtu úmrtí ve vybraných evropských zemích</vt:lpstr>
      <vt:lpstr>Poměr úmrtí a potvrzených případů onemocnění v zemích EU, EHP a Velké Británii od začátku epidemie</vt:lpstr>
      <vt:lpstr>Hodnocení pandemie COVID-19  v mezinárodním srovnání </vt:lpstr>
      <vt:lpstr>Podíl osob s vykázaným očkováním 1. dávkou v zemích EU a EHP</vt:lpstr>
      <vt:lpstr>Podíl osob s vykázaným očkováním 1. dávkou v zemích EU a EHP</vt:lpstr>
      <vt:lpstr>Podíl osob s vykázaným úplným očkováním v zemích EU a EHP</vt:lpstr>
      <vt:lpstr>Podíl osob s vykázaným úplným očkováním v zemích EU a EHP</vt:lpstr>
      <vt:lpstr>Srovnání podílů osob s vykázaným očkováním 1. dávkou a osob s vykázaným úplným očkováním v zemích EU a EH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ývoj epidemie COVID-19 v ČR  Souhrn hlavních statistických ukazatelů dle regionů</dc:title>
  <dc:creator>Nováková Tereza Mgr.</dc:creator>
  <cp:lastModifiedBy>Dušek Ladislav prof. RNDr. Ph.D.</cp:lastModifiedBy>
  <cp:revision>1035</cp:revision>
  <dcterms:created xsi:type="dcterms:W3CDTF">2020-11-14T13:18:43Z</dcterms:created>
  <dcterms:modified xsi:type="dcterms:W3CDTF">2021-11-21T22:47:54Z</dcterms:modified>
</cp:coreProperties>
</file>